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29.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0.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31.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32.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33.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34.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tags/tag35.xml" ContentType="application/vnd.openxmlformats-officedocument.presentationml.tags+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36.xml" ContentType="application/vnd.openxmlformats-officedocument.presentationml.tags+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tags/tag37.xml" ContentType="application/vnd.openxmlformats-officedocument.presentationml.tags+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38.xml" ContentType="application/vnd.openxmlformats-officedocument.presentationml.tags+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ags/tag39.xml" ContentType="application/vnd.openxmlformats-officedocument.presentationml.tags+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tags/tag40.xml" ContentType="application/vnd.openxmlformats-officedocument.presentationml.tags+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tags/tag41.xml" ContentType="application/vnd.openxmlformats-officedocument.presentationml.tags+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tags/tag42.xml" ContentType="application/vnd.openxmlformats-officedocument.presentationml.tags+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tags/tag43.xml" ContentType="application/vnd.openxmlformats-officedocument.presentationml.tags+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44.xml" ContentType="application/vnd.openxmlformats-officedocument.presentationml.tags+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tags/tag45.xml" ContentType="application/vnd.openxmlformats-officedocument.presentationml.tags+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tags/tag46.xml" ContentType="application/vnd.openxmlformats-officedocument.presentationml.tags+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tags/tag47.xml" ContentType="application/vnd.openxmlformats-officedocument.presentationml.tags+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tags/tag48.xml" ContentType="application/vnd.openxmlformats-officedocument.presentationml.tags+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ags/tag49.xml" ContentType="application/vnd.openxmlformats-officedocument.presentationml.tags+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tags/tag50.xml" ContentType="application/vnd.openxmlformats-officedocument.presentationml.tags+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tags/tag51.xml" ContentType="application/vnd.openxmlformats-officedocument.presentationml.tags+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52.xml" ContentType="application/vnd.openxmlformats-officedocument.presentationml.tags+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tags/tag53.xml" ContentType="application/vnd.openxmlformats-officedocument.presentationml.tags+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tags/tag54.xml" ContentType="application/vnd.openxmlformats-officedocument.presentationml.tags+xml"/>
  <Override PartName="/ppt/charts/chart79.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tags/tag55.xml" ContentType="application/vnd.openxmlformats-officedocument.presentationml.tags+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tags/tag56.xml" ContentType="application/vnd.openxmlformats-officedocument.presentationml.tags+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ags/tag57.xml" ContentType="application/vnd.openxmlformats-officedocument.presentationml.tags+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tags/tag58.xml" ContentType="application/vnd.openxmlformats-officedocument.presentationml.tags+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tags/tag59.xml" ContentType="application/vnd.openxmlformats-officedocument.presentationml.tags+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tags/tag60.xml" ContentType="application/vnd.openxmlformats-officedocument.presentationml.tags+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tags/tag61.xml" ContentType="application/vnd.openxmlformats-officedocument.presentationml.tags+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tags/tag62.xml" ContentType="application/vnd.openxmlformats-officedocument.presentationml.tags+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tags/tag63.xml" ContentType="application/vnd.openxmlformats-officedocument.presentationml.tags+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tags/tag64.xml" ContentType="application/vnd.openxmlformats-officedocument.presentationml.tags+xml"/>
  <Override PartName="/ppt/charts/chart109.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tags/tag65.xml" ContentType="application/vnd.openxmlformats-officedocument.presentationml.tags+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tags/tag66.xml" ContentType="application/vnd.openxmlformats-officedocument.presentationml.tags+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tags/tag67.xml" ContentType="application/vnd.openxmlformats-officedocument.presentationml.tags+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tags/tag68.xml" ContentType="application/vnd.openxmlformats-officedocument.presentationml.tags+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tags/tag69.xml" ContentType="application/vnd.openxmlformats-officedocument.presentationml.tags+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tags/tag70.xml" ContentType="application/vnd.openxmlformats-officedocument.presentationml.tags+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tags/tag71.xml" ContentType="application/vnd.openxmlformats-officedocument.presentationml.tags+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tags/tag72.xml" ContentType="application/vnd.openxmlformats-officedocument.presentationml.tags+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tags/tag73.xml" ContentType="application/vnd.openxmlformats-officedocument.presentationml.tags+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tags/tag74.xml" ContentType="application/vnd.openxmlformats-officedocument.presentationml.tags+xml"/>
  <Override PartName="/ppt/charts/chart139.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tags/tag75.xml" ContentType="application/vnd.openxmlformats-officedocument.presentationml.tags+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tags/tag76.xml" ContentType="application/vnd.openxmlformats-officedocument.presentationml.tags+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tags/tag77.xml" ContentType="application/vnd.openxmlformats-officedocument.presentationml.tags+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tags/tag78.xml" ContentType="application/vnd.openxmlformats-officedocument.presentationml.tags+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tags/tag79.xml" ContentType="application/vnd.openxmlformats-officedocument.presentationml.tags+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tags/tag80.xml" ContentType="application/vnd.openxmlformats-officedocument.presentationml.tags+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tags/tag81.xml" ContentType="application/vnd.openxmlformats-officedocument.presentationml.tags+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tags/tag82.xml" ContentType="application/vnd.openxmlformats-officedocument.presentationml.tags+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tags/tag83.xml" ContentType="application/vnd.openxmlformats-officedocument.presentationml.tags+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tags/tag84.xml" ContentType="application/vnd.openxmlformats-officedocument.presentationml.tags+xml"/>
  <Override PartName="/ppt/charts/chart169.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tags/tag85.xml" ContentType="application/vnd.openxmlformats-officedocument.presentationml.tags+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tags/tag86.xml" ContentType="application/vnd.openxmlformats-officedocument.presentationml.tags+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tags/tag87.xml" ContentType="application/vnd.openxmlformats-officedocument.presentationml.tags+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tags/tag88.xml" ContentType="application/vnd.openxmlformats-officedocument.presentationml.tags+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tags/tag89.xml" ContentType="application/vnd.openxmlformats-officedocument.presentationml.tags+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tags/tag90.xml" ContentType="application/vnd.openxmlformats-officedocument.presentationml.tags+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tags/tag91.xml" ContentType="application/vnd.openxmlformats-officedocument.presentationml.tags+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tags/tag92.xml" ContentType="application/vnd.openxmlformats-officedocument.presentationml.tags+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tags/tag93.xml" ContentType="application/vnd.openxmlformats-officedocument.presentationml.tags+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tags/tag94.xml" ContentType="application/vnd.openxmlformats-officedocument.presentationml.tags+xml"/>
  <Override PartName="/ppt/charts/chart199.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tags/tag95.xml" ContentType="application/vnd.openxmlformats-officedocument.presentationml.tags+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tags/tag96.xml" ContentType="application/vnd.openxmlformats-officedocument.presentationml.tags+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tags/tag97.xml" ContentType="application/vnd.openxmlformats-officedocument.presentationml.tags+xml"/>
  <Override PartName="/ppt/charts/chart208.xml" ContentType="application/vnd.openxmlformats-officedocument.drawingml.chart+xml"/>
  <Override PartName="/ppt/charts/chart209.xml" ContentType="application/vnd.openxmlformats-officedocument.drawingml.chart+xml"/>
  <Override PartName="/ppt/charts/chart210.xml" ContentType="application/vnd.openxmlformats-officedocument.drawingml.chart+xml"/>
  <Override PartName="/ppt/tags/tag98.xml" ContentType="application/vnd.openxmlformats-officedocument.presentationml.tags+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tags/tag99.xml" ContentType="application/vnd.openxmlformats-officedocument.presentationml.tags+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tags/tag100.xml" ContentType="application/vnd.openxmlformats-officedocument.presentationml.tags+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tags/tag101.xml" ContentType="application/vnd.openxmlformats-officedocument.presentationml.tags+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tags/tag102.xml" ContentType="application/vnd.openxmlformats-officedocument.presentationml.tags+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tags/tag103.xml" ContentType="application/vnd.openxmlformats-officedocument.presentationml.tags+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tags/tag104.xml" ContentType="application/vnd.openxmlformats-officedocument.presentationml.tags+xml"/>
  <Override PartName="/ppt/charts/chart229.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tags/tag105.xml" ContentType="application/vnd.openxmlformats-officedocument.presentationml.tags+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tags/tag106.xml" ContentType="application/vnd.openxmlformats-officedocument.presentationml.tags+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tags/tag107.xml" ContentType="application/vnd.openxmlformats-officedocument.presentationml.tags+xml"/>
  <Override PartName="/ppt/charts/chart238.xml" ContentType="application/vnd.openxmlformats-officedocument.drawingml.chart+xml"/>
  <Override PartName="/ppt/charts/chart239.xml" ContentType="application/vnd.openxmlformats-officedocument.drawingml.chart+xml"/>
  <Override PartName="/ppt/charts/chart240.xml" ContentType="application/vnd.openxmlformats-officedocument.drawingml.chart+xml"/>
  <Override PartName="/ppt/tags/tag108.xml" ContentType="application/vnd.openxmlformats-officedocument.presentationml.tags+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tags/tag109.xml" ContentType="application/vnd.openxmlformats-officedocument.presentationml.tags+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tags/tag110.xml" ContentType="application/vnd.openxmlformats-officedocument.presentationml.tags+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tags/tag111.xml" ContentType="application/vnd.openxmlformats-officedocument.presentationml.tags+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tags/tag112.xml" ContentType="application/vnd.openxmlformats-officedocument.presentationml.tags+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tags/tag113.xml" ContentType="application/vnd.openxmlformats-officedocument.presentationml.tags+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tags/tag114.xml" ContentType="application/vnd.openxmlformats-officedocument.presentationml.tags+xml"/>
  <Override PartName="/ppt/charts/chart259.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tags/tag115.xml" ContentType="application/vnd.openxmlformats-officedocument.presentationml.tags+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tags/tag116.xml" ContentType="application/vnd.openxmlformats-officedocument.presentationml.tags+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tags/tag117.xml" ContentType="application/vnd.openxmlformats-officedocument.presentationml.tags+xml"/>
  <Override PartName="/ppt/charts/chart268.xml" ContentType="application/vnd.openxmlformats-officedocument.drawingml.chart+xml"/>
  <Override PartName="/ppt/charts/chart269.xml" ContentType="application/vnd.openxmlformats-officedocument.drawingml.chart+xml"/>
  <Override PartName="/ppt/charts/chart270.xml" ContentType="application/vnd.openxmlformats-officedocument.drawingml.chart+xml"/>
  <Override PartName="/ppt/tags/tag118.xml" ContentType="application/vnd.openxmlformats-officedocument.presentationml.tags+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tags/tag119.xml" ContentType="application/vnd.openxmlformats-officedocument.presentationml.tags+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tags/tag120.xml" ContentType="application/vnd.openxmlformats-officedocument.presentationml.tags+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tags/tag121.xml" ContentType="application/vnd.openxmlformats-officedocument.presentationml.tags+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tags/tag122.xml" ContentType="application/vnd.openxmlformats-officedocument.presentationml.tags+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tags/tag123.xml" ContentType="application/vnd.openxmlformats-officedocument.presentationml.tags+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tags/tag124.xml" ContentType="application/vnd.openxmlformats-officedocument.presentationml.tags+xml"/>
  <Override PartName="/ppt/charts/chart28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tags/tag125.xml" ContentType="application/vnd.openxmlformats-officedocument.presentationml.tags+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tags/tag126.xml" ContentType="application/vnd.openxmlformats-officedocument.presentationml.tags+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104"/>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 id="2147475209" r:id="rId41"/>
    <p:sldId id="2147475210" r:id="rId42"/>
    <p:sldId id="2147475211" r:id="rId43"/>
    <p:sldId id="2147475212" r:id="rId44"/>
    <p:sldId id="2147475213" r:id="rId45"/>
    <p:sldId id="2147475214" r:id="rId46"/>
    <p:sldId id="2147475215" r:id="rId47"/>
    <p:sldId id="2147475216" r:id="rId48"/>
    <p:sldId id="2147475217" r:id="rId49"/>
    <p:sldId id="2147475218" r:id="rId50"/>
    <p:sldId id="2147475219" r:id="rId51"/>
    <p:sldId id="2147475220" r:id="rId52"/>
    <p:sldId id="2147475221" r:id="rId53"/>
    <p:sldId id="2147475222" r:id="rId54"/>
    <p:sldId id="2147475223" r:id="rId55"/>
    <p:sldId id="2147475224" r:id="rId56"/>
    <p:sldId id="2147475225" r:id="rId57"/>
    <p:sldId id="2147475226" r:id="rId58"/>
    <p:sldId id="2147475227" r:id="rId59"/>
    <p:sldId id="2147475228" r:id="rId60"/>
    <p:sldId id="2147475229" r:id="rId61"/>
    <p:sldId id="2147475230" r:id="rId62"/>
    <p:sldId id="2147475231" r:id="rId63"/>
    <p:sldId id="2147475232" r:id="rId64"/>
    <p:sldId id="2147475233" r:id="rId65"/>
    <p:sldId id="2147475234" r:id="rId66"/>
    <p:sldId id="2147475235" r:id="rId67"/>
    <p:sldId id="2147475236" r:id="rId68"/>
    <p:sldId id="2147475237" r:id="rId69"/>
    <p:sldId id="2147475238" r:id="rId70"/>
    <p:sldId id="2147475239" r:id="rId71"/>
    <p:sldId id="2147475240" r:id="rId72"/>
    <p:sldId id="2147475241" r:id="rId73"/>
    <p:sldId id="2147475242" r:id="rId74"/>
    <p:sldId id="2147475243" r:id="rId75"/>
    <p:sldId id="2147475244" r:id="rId76"/>
    <p:sldId id="2147475245" r:id="rId77"/>
    <p:sldId id="2147475246" r:id="rId78"/>
    <p:sldId id="2147475247" r:id="rId79"/>
    <p:sldId id="2147475248" r:id="rId80"/>
    <p:sldId id="2147475249" r:id="rId81"/>
    <p:sldId id="2147475250" r:id="rId82"/>
    <p:sldId id="2147475251" r:id="rId83"/>
    <p:sldId id="2147475252" r:id="rId84"/>
    <p:sldId id="2147475253" r:id="rId85"/>
    <p:sldId id="2147475254" r:id="rId86"/>
    <p:sldId id="2147475255" r:id="rId87"/>
    <p:sldId id="2147475256" r:id="rId88"/>
    <p:sldId id="2147475257" r:id="rId89"/>
    <p:sldId id="2147475258" r:id="rId90"/>
    <p:sldId id="2147475259" r:id="rId91"/>
    <p:sldId id="2147475260" r:id="rId92"/>
    <p:sldId id="2147475261" r:id="rId93"/>
    <p:sldId id="2147475262" r:id="rId94"/>
    <p:sldId id="2147475263" r:id="rId95"/>
    <p:sldId id="2147475264" r:id="rId96"/>
    <p:sldId id="2147475265" r:id="rId97"/>
    <p:sldId id="2147475266" r:id="rId98"/>
    <p:sldId id="2147475267" r:id="rId99"/>
    <p:sldId id="2147475268" r:id="rId100"/>
    <p:sldId id="2147475269" r:id="rId101"/>
    <p:sldId id="2147475270" r:id="rId102"/>
    <p:sldId id="2147475271" r:id="rId103"/>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nd Share Topline By Size Bracket" id="{8217CEDD-2A0A-4781-AEC1-624131E32998}">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 id="2147475261"/>
            <p14:sldId id="2147475262"/>
            <p14:sldId id="2147475263"/>
            <p14:sldId id="2147475264"/>
            <p14:sldId id="2147475265"/>
            <p14:sldId id="2147475266"/>
            <p14:sldId id="2147475267"/>
            <p14:sldId id="2147475268"/>
            <p14:sldId id="2147475269"/>
            <p14:sldId id="2147475270"/>
            <p14:sldId id="2147475271"/>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85" d="100"/>
          <a:sy n="85" d="100"/>
        </p:scale>
        <p:origin x="444" y="84"/>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07" Type="http://schemas.openxmlformats.org/officeDocument/2006/relationships/theme" Target="theme/theme1.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tableStyles" Target="tableStyles.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viewProps" Target="view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microsoft.com/office/2015/10/relationships/revisionInfo" Target="revisionInfo.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notesMaster" Target="notesMasters/notesMaster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microsoft.com/office/2018/10/relationships/authors" Target="authors.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3">
                  <c:v>0.24640000000000001</c:v>
                </c:pt>
                <c:pt idx="5">
                  <c:v>0.1154</c:v>
                </c:pt>
                <c:pt idx="7">
                  <c:v>0.4264</c:v>
                </c:pt>
                <c:pt idx="9">
                  <c:v>0.2119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3">
                  <c:v>0.24640000000000001</c:v>
                </c:pt>
                <c:pt idx="5">
                  <c:v>0.1154</c:v>
                </c:pt>
                <c:pt idx="7">
                  <c:v>0.4264</c:v>
                </c:pt>
                <c:pt idx="10">
                  <c:v>0.2119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0.33860000000000001</c:v>
                </c:pt>
                <c:pt idx="3">
                  <c:v>0.20039999999999999</c:v>
                </c:pt>
                <c:pt idx="5">
                  <c:v>0.13109999999999999</c:v>
                </c:pt>
                <c:pt idx="7">
                  <c:v>0.28060000000000002</c:v>
                </c:pt>
                <c:pt idx="9">
                  <c:v>4.9000000000000002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2.7122140355978725E-2</c:v>
                </c:pt>
                <c:pt idx="1">
                  <c:v>5.5754557902565078E-3</c:v>
                </c:pt>
                <c:pt idx="2">
                  <c:v>6.814721198565897E-2</c:v>
                </c:pt>
                <c:pt idx="3">
                  <c:v>1.7387101469783731E-2</c:v>
                </c:pt>
                <c:pt idx="4">
                  <c:v>0.11028045551334936</c:v>
                </c:pt>
                <c:pt idx="5">
                  <c:v>2.6923792213839906E-2</c:v>
                </c:pt>
                <c:pt idx="6">
                  <c:v>0.20733639545642582</c:v>
                </c:pt>
                <c:pt idx="7">
                  <c:v>5.1957357396912048E-2</c:v>
                </c:pt>
                <c:pt idx="8">
                  <c:v>0.33084619978805307</c:v>
                </c:pt>
                <c:pt idx="9">
                  <c:v>2.6739845540273522E-2</c:v>
                </c:pt>
                <c:pt idx="10">
                  <c:v>0.12682383401021838</c:v>
                </c:pt>
                <c:pt idx="11">
                  <c:v>8.0540545507086861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3.0485968413759027E-8</c:v>
                </c:pt>
                <c:pt idx="2">
                  <c:v>6.4910329043946901E-3</c:v>
                </c:pt>
                <c:pt idx="4">
                  <c:v>3.8405875699152707E-3</c:v>
                </c:pt>
                <c:pt idx="5">
                  <c:v>3.7303505653966744E-9</c:v>
                </c:pt>
                <c:pt idx="6">
                  <c:v>2.5128495530158694E-3</c:v>
                </c:pt>
                <c:pt idx="8">
                  <c:v>5.3793314515857751E-3</c:v>
                </c:pt>
                <c:pt idx="9">
                  <c:v>6.8175372402077151E-9</c:v>
                </c:pt>
                <c:pt idx="10">
                  <c:v>9.3881231011503448E-4</c:v>
                </c:pt>
                <c:pt idx="11">
                  <c:v>6.2798522276781255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C$2:$C$14</c:f>
              <c:numCache>
                <c:formatCode>General</c:formatCode>
                <c:ptCount val="13"/>
                <c:pt idx="0">
                  <c:v>1.3548527517377108E-2</c:v>
                </c:pt>
                <c:pt idx="1">
                  <c:v>5.1983998017056778E-3</c:v>
                </c:pt>
                <c:pt idx="2">
                  <c:v>3.7607239544030252E-2</c:v>
                </c:pt>
                <c:pt idx="3">
                  <c:v>1.668666846552146E-2</c:v>
                </c:pt>
                <c:pt idx="4">
                  <c:v>4.5390071882078976E-2</c:v>
                </c:pt>
                <c:pt idx="5">
                  <c:v>2.5987290920216524E-2</c:v>
                </c:pt>
                <c:pt idx="6">
                  <c:v>6.328677525627377E-2</c:v>
                </c:pt>
                <c:pt idx="7">
                  <c:v>5.1067649106249891E-2</c:v>
                </c:pt>
                <c:pt idx="8">
                  <c:v>0.12471537298161155</c:v>
                </c:pt>
                <c:pt idx="9">
                  <c:v>2.6229088256249415E-2</c:v>
                </c:pt>
                <c:pt idx="10">
                  <c:v>4.6830532474668528E-2</c:v>
                </c:pt>
                <c:pt idx="11">
                  <c:v>7.4941932472317042E-4</c:v>
                </c:pt>
                <c:pt idx="12">
                  <c:v>5.5120431750969958E-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D$2:$D$14</c:f>
              <c:numCache>
                <c:formatCode>General</c:formatCode>
                <c:ptCount val="13"/>
                <c:pt idx="0">
                  <c:v>7.3981817416450817E-4</c:v>
                </c:pt>
                <c:pt idx="2">
                  <c:v>3.4063993329637183E-3</c:v>
                </c:pt>
                <c:pt idx="4">
                  <c:v>1.1114941482237012E-2</c:v>
                </c:pt>
                <c:pt idx="5">
                  <c:v>1.1239970741707966E-4</c:v>
                </c:pt>
                <c:pt idx="6">
                  <c:v>1.7698640668190612E-2</c:v>
                </c:pt>
                <c:pt idx="7">
                  <c:v>1.1576950030541404E-9</c:v>
                </c:pt>
                <c:pt idx="8">
                  <c:v>2.0646809654808796E-2</c:v>
                </c:pt>
                <c:pt idx="9">
                  <c:v>1.2503106032984716E-7</c:v>
                </c:pt>
                <c:pt idx="10">
                  <c:v>3.0595317852108615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E$2:$E$14</c:f>
              <c:numCache>
                <c:formatCode>General</c:formatCode>
                <c:ptCount val="13"/>
                <c:pt idx="0">
                  <c:v>2.3342990244914982E-6</c:v>
                </c:pt>
                <c:pt idx="2">
                  <c:v>3.488649575314593E-5</c:v>
                </c:pt>
                <c:pt idx="4">
                  <c:v>3.4841653080366522E-3</c:v>
                </c:pt>
                <c:pt idx="6">
                  <c:v>5.1001587041759507E-3</c:v>
                </c:pt>
                <c:pt idx="8">
                  <c:v>1.6995231744606602E-2</c:v>
                </c:pt>
                <c:pt idx="10">
                  <c:v>1.754320583579222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F$2:$F$14</c:f>
              <c:numCache>
                <c:formatCode>General</c:formatCode>
                <c:ptCount val="13"/>
                <c:pt idx="0">
                  <c:v>1.2831429879444207E-2</c:v>
                </c:pt>
                <c:pt idx="1">
                  <c:v>3.7705598855083066E-4</c:v>
                </c:pt>
                <c:pt idx="2">
                  <c:v>2.0607653708517165E-2</c:v>
                </c:pt>
                <c:pt idx="3">
                  <c:v>7.0043300426227194E-4</c:v>
                </c:pt>
                <c:pt idx="4">
                  <c:v>4.6450689271081459E-2</c:v>
                </c:pt>
                <c:pt idx="5">
                  <c:v>8.2409785585573696E-4</c:v>
                </c:pt>
                <c:pt idx="6">
                  <c:v>0.11873797127476966</c:v>
                </c:pt>
                <c:pt idx="7">
                  <c:v>8.8970713296715573E-4</c:v>
                </c:pt>
                <c:pt idx="8">
                  <c:v>0.16310945395544035</c:v>
                </c:pt>
                <c:pt idx="9">
                  <c:v>5.1062543542653642E-4</c:v>
                </c:pt>
                <c:pt idx="10">
                  <c:v>7.4240636856644712E-2</c:v>
                </c:pt>
                <c:pt idx="11">
                  <c:v>4.9706278120020098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0.41199999999999998</c:v>
                </c:pt>
                <c:pt idx="3">
                  <c:v>0.20349999999999999</c:v>
                </c:pt>
                <c:pt idx="6">
                  <c:v>2.69E-2</c:v>
                </c:pt>
                <c:pt idx="8">
                  <c:v>0.30330000000000001</c:v>
                </c:pt>
                <c:pt idx="9">
                  <c:v>5.3499999999999999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2.8899443980434349E-2</c:v>
                </c:pt>
                <c:pt idx="1">
                  <c:v>5.1803542935656838E-3</c:v>
                </c:pt>
                <c:pt idx="2">
                  <c:v>6.4755866778982929E-2</c:v>
                </c:pt>
                <c:pt idx="3">
                  <c:v>1.8021381861367716E-2</c:v>
                </c:pt>
                <c:pt idx="4">
                  <c:v>0.10461701106794237</c:v>
                </c:pt>
                <c:pt idx="5">
                  <c:v>0.19988749427527719</c:v>
                </c:pt>
                <c:pt idx="6">
                  <c:v>2.5989686419916082E-2</c:v>
                </c:pt>
                <c:pt idx="7">
                  <c:v>0.33208029496481511</c:v>
                </c:pt>
                <c:pt idx="8">
                  <c:v>6.0607765535214686E-2</c:v>
                </c:pt>
                <c:pt idx="9">
                  <c:v>2.9774651562565285E-2</c:v>
                </c:pt>
                <c:pt idx="10">
                  <c:v>0.1298051470768827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B$2:$B$14</c:f>
              <c:numCache>
                <c:formatCode>General</c:formatCode>
                <c:ptCount val="13"/>
                <c:pt idx="0">
                  <c:v>6.5331489466373249E-8</c:v>
                </c:pt>
                <c:pt idx="2">
                  <c:v>1.0812154895849335E-2</c:v>
                </c:pt>
                <c:pt idx="4">
                  <c:v>5.3404629914445435E-3</c:v>
                </c:pt>
                <c:pt idx="5">
                  <c:v>7.061419370462419E-4</c:v>
                </c:pt>
                <c:pt idx="7">
                  <c:v>7.9589139735811946E-3</c:v>
                </c:pt>
                <c:pt idx="10">
                  <c:v>1.404894882633837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C$2:$C$14</c:f>
              <c:numCache>
                <c:formatCode>General</c:formatCode>
                <c:ptCount val="13"/>
                <c:pt idx="0">
                  <c:v>1.2640676305699122E-2</c:v>
                </c:pt>
                <c:pt idx="1">
                  <c:v>4.3651030526052704E-3</c:v>
                </c:pt>
                <c:pt idx="2">
                  <c:v>3.1615913429504636E-2</c:v>
                </c:pt>
                <c:pt idx="3">
                  <c:v>1.6805595508143242E-2</c:v>
                </c:pt>
                <c:pt idx="4">
                  <c:v>3.5513323865248886E-2</c:v>
                </c:pt>
                <c:pt idx="5">
                  <c:v>5.1841066893275473E-2</c:v>
                </c:pt>
                <c:pt idx="6">
                  <c:v>2.5008223703317033E-2</c:v>
                </c:pt>
                <c:pt idx="7">
                  <c:v>0.10159808295523856</c:v>
                </c:pt>
                <c:pt idx="8">
                  <c:v>5.9251950934042466E-2</c:v>
                </c:pt>
                <c:pt idx="9">
                  <c:v>2.8765728387656283E-2</c:v>
                </c:pt>
                <c:pt idx="10">
                  <c:v>3.940429996592432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D$2:$D$14</c:f>
              <c:numCache>
                <c:formatCode>General</c:formatCode>
                <c:ptCount val="13"/>
                <c:pt idx="0">
                  <c:v>7.6728159481972904E-4</c:v>
                </c:pt>
                <c:pt idx="2">
                  <c:v>4.5360771938260059E-3</c:v>
                </c:pt>
                <c:pt idx="4">
                  <c:v>1.0256986681167318E-2</c:v>
                </c:pt>
                <c:pt idx="5">
                  <c:v>1.7827923888047128E-2</c:v>
                </c:pt>
                <c:pt idx="7">
                  <c:v>1.9047220175543181E-2</c:v>
                </c:pt>
                <c:pt idx="8">
                  <c:v>7.3497925649669908E-9</c:v>
                </c:pt>
                <c:pt idx="10">
                  <c:v>2.9185740450217504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E$2:$E$14</c:f>
              <c:numCache>
                <c:formatCode>General</c:formatCode>
                <c:ptCount val="13"/>
                <c:pt idx="0">
                  <c:v>2.8901017652686869E-6</c:v>
                </c:pt>
                <c:pt idx="2">
                  <c:v>4.4294749858201065E-6</c:v>
                </c:pt>
                <c:pt idx="4">
                  <c:v>3.5931159572567262E-3</c:v>
                </c:pt>
                <c:pt idx="5">
                  <c:v>5.7723727348812101E-3</c:v>
                </c:pt>
                <c:pt idx="7">
                  <c:v>1.8595720784990021E-2</c:v>
                </c:pt>
                <c:pt idx="10">
                  <c:v>1.7138850619267594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F$2:$F$14</c:f>
              <c:numCache>
                <c:formatCode>General</c:formatCode>
                <c:ptCount val="13"/>
                <c:pt idx="0">
                  <c:v>1.548853064666076E-2</c:v>
                </c:pt>
                <c:pt idx="1">
                  <c:v>8.1525124096041364E-4</c:v>
                </c:pt>
                <c:pt idx="2">
                  <c:v>1.7787291784817135E-2</c:v>
                </c:pt>
                <c:pt idx="3">
                  <c:v>4.4149999776852134E-2</c:v>
                </c:pt>
                <c:pt idx="4">
                  <c:v>6.9789081491972446E-3</c:v>
                </c:pt>
                <c:pt idx="5">
                  <c:v>2.2324865069751919E-2</c:v>
                </c:pt>
                <c:pt idx="6">
                  <c:v>0.10239658646887427</c:v>
                </c:pt>
                <c:pt idx="7">
                  <c:v>0.18488035707546216</c:v>
                </c:pt>
                <c:pt idx="8">
                  <c:v>1.3558072513796592E-3</c:v>
                </c:pt>
                <c:pt idx="9">
                  <c:v>1.0089231749090038E-3</c:v>
                </c:pt>
                <c:pt idx="10">
                  <c:v>8.436349312137610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0.33439999999999998</c:v>
                </c:pt>
                <c:pt idx="3">
                  <c:v>0.21790000000000001</c:v>
                </c:pt>
                <c:pt idx="6">
                  <c:v>9.3799999999999994E-2</c:v>
                </c:pt>
                <c:pt idx="8">
                  <c:v>0.33350000000000002</c:v>
                </c:pt>
                <c:pt idx="9">
                  <c:v>2.0299999999999999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2.9228917147230055E-2</c:v>
                </c:pt>
                <c:pt idx="1">
                  <c:v>8.8026111166818521E-2</c:v>
                </c:pt>
                <c:pt idx="4">
                  <c:v>0.14262715024337333</c:v>
                </c:pt>
                <c:pt idx="5">
                  <c:v>0.22104468597369087</c:v>
                </c:pt>
                <c:pt idx="6">
                  <c:v>9.693855530901747E-4</c:v>
                </c:pt>
                <c:pt idx="7">
                  <c:v>0.36373832536069917</c:v>
                </c:pt>
                <c:pt idx="8">
                  <c:v>1.866192861775446E-3</c:v>
                </c:pt>
                <c:pt idx="10">
                  <c:v>0.14790646668867971</c:v>
                </c:pt>
                <c:pt idx="11">
                  <c:v>3.8765162308540694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50 GR</c:v>
                </c:pt>
                <c:pt idx="12">
                  <c:v>0-49 GR</c:v>
                </c:pt>
              </c:strCache>
            </c:strRef>
          </c:cat>
          <c:val>
            <c:numRef>
              <c:f>Sheet1!$B$2:$B$14</c:f>
              <c:numCache>
                <c:formatCode>General</c:formatCode>
                <c:ptCount val="13"/>
                <c:pt idx="1">
                  <c:v>5.3602751965469361E-3</c:v>
                </c:pt>
                <c:pt idx="4">
                  <c:v>3.4918555854350801E-3</c:v>
                </c:pt>
                <c:pt idx="5">
                  <c:v>1.5040910202591446E-3</c:v>
                </c:pt>
                <c:pt idx="7">
                  <c:v>5.3456556705909763E-3</c:v>
                </c:pt>
                <c:pt idx="10">
                  <c:v>3.2594096700217813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50 GR</c:v>
                </c:pt>
                <c:pt idx="12">
                  <c:v>0-49 GR</c:v>
                </c:pt>
              </c:strCache>
            </c:strRef>
          </c:cat>
          <c:val>
            <c:numRef>
              <c:f>Sheet1!$C$2:$C$14</c:f>
              <c:numCache>
                <c:formatCode>General</c:formatCode>
                <c:ptCount val="13"/>
                <c:pt idx="0">
                  <c:v>1.4819855950263873E-2</c:v>
                </c:pt>
                <c:pt idx="1">
                  <c:v>5.4048142332021404E-2</c:v>
                </c:pt>
                <c:pt idx="4">
                  <c:v>7.0222121926766898E-2</c:v>
                </c:pt>
                <c:pt idx="5">
                  <c:v>7.2121316719996581E-2</c:v>
                </c:pt>
                <c:pt idx="7">
                  <c:v>0.16867305426458251</c:v>
                </c:pt>
                <c:pt idx="10">
                  <c:v>6.7897128466475332E-2</c:v>
                </c:pt>
                <c:pt idx="11">
                  <c:v>3.8566673254737389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50 GR</c:v>
                </c:pt>
                <c:pt idx="12">
                  <c:v>0-49 GR</c:v>
                </c:pt>
              </c:strCache>
            </c:strRef>
          </c:cat>
          <c:val>
            <c:numRef>
              <c:f>Sheet1!$D$2:$D$14</c:f>
              <c:numCache>
                <c:formatCode>General</c:formatCode>
                <c:ptCount val="13"/>
                <c:pt idx="0">
                  <c:v>1.4398016264472726E-3</c:v>
                </c:pt>
                <c:pt idx="1">
                  <c:v>2.9379442276111951E-3</c:v>
                </c:pt>
                <c:pt idx="4">
                  <c:v>1.719972450037642E-2</c:v>
                </c:pt>
                <c:pt idx="5">
                  <c:v>2.0891965500169651E-2</c:v>
                </c:pt>
                <c:pt idx="7">
                  <c:v>2.8939038293364288E-2</c:v>
                </c:pt>
                <c:pt idx="10">
                  <c:v>4.9940061933018394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50 GR</c:v>
                </c:pt>
                <c:pt idx="12">
                  <c:v>0-49 GR</c:v>
                </c:pt>
              </c:strCache>
            </c:strRef>
          </c:cat>
          <c:val>
            <c:numRef>
              <c:f>Sheet1!$E$2:$E$14</c:f>
              <c:numCache>
                <c:formatCode>General</c:formatCode>
                <c:ptCount val="13"/>
                <c:pt idx="4">
                  <c:v>3.115289109907726E-3</c:v>
                </c:pt>
                <c:pt idx="5">
                  <c:v>4.9656900984377814E-3</c:v>
                </c:pt>
                <c:pt idx="7">
                  <c:v>1.5775445462554726E-2</c:v>
                </c:pt>
                <c:pt idx="10">
                  <c:v>1.8930154572441191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50 GR</c:v>
                </c:pt>
                <c:pt idx="12">
                  <c:v>0-49 GR</c:v>
                </c:pt>
              </c:strCache>
            </c:strRef>
          </c:cat>
          <c:val>
            <c:numRef>
              <c:f>Sheet1!$F$2:$F$14</c:f>
              <c:numCache>
                <c:formatCode>General</c:formatCode>
                <c:ptCount val="13"/>
                <c:pt idx="0">
                  <c:v>1.2969259570518912E-2</c:v>
                </c:pt>
                <c:pt idx="1">
                  <c:v>4.4591827808904174E-6</c:v>
                </c:pt>
                <c:pt idx="2">
                  <c:v>2.567974941063899E-2</c:v>
                </c:pt>
                <c:pt idx="3">
                  <c:v>2.4870601706095271E-4</c:v>
                </c:pt>
                <c:pt idx="4">
                  <c:v>4.8598159120887205E-2</c:v>
                </c:pt>
                <c:pt idx="5">
                  <c:v>9.693855530901747E-4</c:v>
                </c:pt>
                <c:pt idx="6">
                  <c:v>0.12156162263482771</c:v>
                </c:pt>
                <c:pt idx="7">
                  <c:v>1.866192861775446E-3</c:v>
                </c:pt>
                <c:pt idx="8">
                  <c:v>0.14500513166960666</c:v>
                </c:pt>
                <c:pt idx="9">
                  <c:v>4.4786934818405851E-4</c:v>
                </c:pt>
                <c:pt idx="10">
                  <c:v>7.2796375604656224E-2</c:v>
                </c:pt>
                <c:pt idx="11">
                  <c:v>1.9848905380330576E-5</c:v>
                </c:pt>
                <c:pt idx="12">
                  <c:v>1.5214225762779877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0.35260000000000002</c:v>
                </c:pt>
                <c:pt idx="3">
                  <c:v>0.20860000000000001</c:v>
                </c:pt>
                <c:pt idx="5">
                  <c:v>0.13139999999999999</c:v>
                </c:pt>
                <c:pt idx="7">
                  <c:v>0.25600000000000001</c:v>
                </c:pt>
                <c:pt idx="10">
                  <c:v>5.0999999999999997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4.8554906966759353E-3</c:v>
                </c:pt>
                <c:pt idx="1">
                  <c:v>2.8441740379247186E-2</c:v>
                </c:pt>
                <c:pt idx="2">
                  <c:v>9.7613213628071141E-3</c:v>
                </c:pt>
                <c:pt idx="3">
                  <c:v>3.0379211598501585E-2</c:v>
                </c:pt>
                <c:pt idx="4">
                  <c:v>9.7600513763922508E-2</c:v>
                </c:pt>
                <c:pt idx="5">
                  <c:v>4.6255803376908433E-2</c:v>
                </c:pt>
                <c:pt idx="6">
                  <c:v>0.21170893053512191</c:v>
                </c:pt>
                <c:pt idx="7">
                  <c:v>9.0787088002621835E-2</c:v>
                </c:pt>
                <c:pt idx="8">
                  <c:v>0.32083983687169554</c:v>
                </c:pt>
                <c:pt idx="9">
                  <c:v>0.11338747694483581</c:v>
                </c:pt>
                <c:pt idx="10">
                  <c:v>4.5216353372256775E-2</c:v>
                </c:pt>
                <c:pt idx="11">
                  <c:v>7.565813878529791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4.8554906966759353E-3</c:v>
                </c:pt>
                <c:pt idx="1">
                  <c:v>2.8441740379247186E-2</c:v>
                </c:pt>
                <c:pt idx="2">
                  <c:v>9.7613213628071141E-3</c:v>
                </c:pt>
                <c:pt idx="3">
                  <c:v>3.0379211598501585E-2</c:v>
                </c:pt>
                <c:pt idx="4">
                  <c:v>9.7600513763922508E-2</c:v>
                </c:pt>
                <c:pt idx="5">
                  <c:v>4.6255803376908433E-2</c:v>
                </c:pt>
                <c:pt idx="6">
                  <c:v>0.21170893053512191</c:v>
                </c:pt>
                <c:pt idx="7">
                  <c:v>9.0787088002621835E-2</c:v>
                </c:pt>
                <c:pt idx="8">
                  <c:v>0.32083983687169554</c:v>
                </c:pt>
                <c:pt idx="9">
                  <c:v>0.11338747694483581</c:v>
                </c:pt>
                <c:pt idx="10">
                  <c:v>4.5216353372256775E-2</c:v>
                </c:pt>
                <c:pt idx="11">
                  <c:v>7.565813878529791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50 GR</c:v>
                </c:pt>
                <c:pt idx="10">
                  <c:v>50-149 GR</c:v>
                </c:pt>
                <c:pt idx="11">
                  <c:v>0-50 GR</c:v>
                </c:pt>
                <c:pt idx="12">
                  <c:v>0-49 GR</c:v>
                </c:pt>
              </c:strCache>
            </c:strRef>
          </c:cat>
          <c:val>
            <c:numRef>
              <c:f>Sheet1!$B$2:$B$14</c:f>
              <c:numCache>
                <c:formatCode>General</c:formatCode>
                <c:ptCount val="13"/>
                <c:pt idx="0">
                  <c:v>1.8019103502611428E-8</c:v>
                </c:pt>
                <c:pt idx="1">
                  <c:v>1.1365939873101784E-2</c:v>
                </c:pt>
                <c:pt idx="4">
                  <c:v>6.7249524135804296E-3</c:v>
                </c:pt>
                <c:pt idx="5">
                  <c:v>6.5319250196966422E-9</c:v>
                </c:pt>
                <c:pt idx="6">
                  <c:v>4.2366876537410043E-3</c:v>
                </c:pt>
                <c:pt idx="8">
                  <c:v>8.2534548520981615E-3</c:v>
                </c:pt>
                <c:pt idx="9">
                  <c:v>1.6438807853940965E-3</c:v>
                </c:pt>
                <c:pt idx="10">
                  <c:v>1.1937656070480072E-8</c:v>
                </c:pt>
                <c:pt idx="11">
                  <c:v>1.0996157912468623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50 GR</c:v>
                </c:pt>
                <c:pt idx="10">
                  <c:v>50-149 GR</c:v>
                </c:pt>
                <c:pt idx="11">
                  <c:v>0-50 GR</c:v>
                </c:pt>
                <c:pt idx="12">
                  <c:v>0-49 GR</c:v>
                </c:pt>
              </c:strCache>
            </c:strRef>
          </c:cat>
          <c:val>
            <c:numRef>
              <c:f>Sheet1!$C$2:$C$14</c:f>
              <c:numCache>
                <c:formatCode>General</c:formatCode>
                <c:ptCount val="13"/>
                <c:pt idx="0">
                  <c:v>2.7611550728347245E-4</c:v>
                </c:pt>
                <c:pt idx="1">
                  <c:v>7.9772084810755019E-3</c:v>
                </c:pt>
                <c:pt idx="2">
                  <c:v>9.1025111800817175E-3</c:v>
                </c:pt>
                <c:pt idx="3">
                  <c:v>2.9218719617503913E-2</c:v>
                </c:pt>
                <c:pt idx="4">
                  <c:v>2.5242062493065983E-2</c:v>
                </c:pt>
                <c:pt idx="5">
                  <c:v>4.550431193531735E-2</c:v>
                </c:pt>
                <c:pt idx="6">
                  <c:v>3.8440410950062252E-2</c:v>
                </c:pt>
                <c:pt idx="7">
                  <c:v>8.9420564916458931E-2</c:v>
                </c:pt>
                <c:pt idx="8">
                  <c:v>7.2827084907111039E-2</c:v>
                </c:pt>
                <c:pt idx="9">
                  <c:v>3.3491213482292545E-2</c:v>
                </c:pt>
                <c:pt idx="10">
                  <c:v>4.4421245564443664E-2</c:v>
                </c:pt>
                <c:pt idx="11">
                  <c:v>6.8357811620611787E-4</c:v>
                </c:pt>
                <c:pt idx="12">
                  <c:v>9.6517075523800295E-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50 GR</c:v>
                </c:pt>
                <c:pt idx="10">
                  <c:v>50-149 GR</c:v>
                </c:pt>
                <c:pt idx="11">
                  <c:v>0-50 GR</c:v>
                </c:pt>
                <c:pt idx="12">
                  <c:v>0-49 GR</c:v>
                </c:pt>
              </c:strCache>
            </c:strRef>
          </c:cat>
          <c:val>
            <c:numRef>
              <c:f>Sheet1!$D$2:$D$14</c:f>
              <c:numCache>
                <c:formatCode>General</c:formatCode>
                <c:ptCount val="13"/>
                <c:pt idx="0">
                  <c:v>4.0874083907736199E-6</c:v>
                </c:pt>
                <c:pt idx="1">
                  <c:v>6.1087013261790571E-5</c:v>
                </c:pt>
                <c:pt idx="4">
                  <c:v>6.1008492765890002E-3</c:v>
                </c:pt>
                <c:pt idx="6">
                  <c:v>8.930488880389718E-3</c:v>
                </c:pt>
                <c:pt idx="8">
                  <c:v>2.8507312797848364E-2</c:v>
                </c:pt>
                <c:pt idx="9">
                  <c:v>1.6102269562598566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price Des Dieux</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50 GR</c:v>
                </c:pt>
                <c:pt idx="10">
                  <c:v>50-149 GR</c:v>
                </c:pt>
                <c:pt idx="11">
                  <c:v>0-50 GR</c:v>
                </c:pt>
                <c:pt idx="12">
                  <c:v>0-49 GR</c:v>
                </c:pt>
              </c:strCache>
            </c:strRef>
          </c:cat>
          <c:val>
            <c:numRef>
              <c:f>Sheet1!$E$2:$E$14</c:f>
              <c:numCache>
                <c:formatCode>General</c:formatCode>
                <c:ptCount val="13"/>
                <c:pt idx="6">
                  <c:v>2.2803205664553128E-2</c:v>
                </c:pt>
                <c:pt idx="8">
                  <c:v>1.8656379279979648E-2</c:v>
                </c:pt>
                <c:pt idx="9">
                  <c:v>8.1899640904291218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50 GR</c:v>
                </c:pt>
                <c:pt idx="10">
                  <c:v>50-149 GR</c:v>
                </c:pt>
                <c:pt idx="11">
                  <c:v>0-50 GR</c:v>
                </c:pt>
                <c:pt idx="12">
                  <c:v>0-49 GR</c:v>
                </c:pt>
              </c:strCache>
            </c:strRef>
          </c:cat>
          <c:val>
            <c:numRef>
              <c:f>Sheet1!$F$2:$F$14</c:f>
              <c:numCache>
                <c:formatCode>General</c:formatCode>
                <c:ptCount val="13"/>
                <c:pt idx="0">
                  <c:v>4.5752697618981859E-3</c:v>
                </c:pt>
                <c:pt idx="1">
                  <c:v>2.8782619022145774E-3</c:v>
                </c:pt>
                <c:pt idx="2">
                  <c:v>6.8180532923189287E-3</c:v>
                </c:pt>
                <c:pt idx="3">
                  <c:v>1.1604919809976725E-3</c:v>
                </c:pt>
                <c:pt idx="4">
                  <c:v>5.9532649580687089E-2</c:v>
                </c:pt>
                <c:pt idx="5">
                  <c:v>0.1107611597244663</c:v>
                </c:pt>
                <c:pt idx="6">
                  <c:v>2.7288462571575575E-2</c:v>
                </c:pt>
                <c:pt idx="7">
                  <c:v>1.3665230861629129E-3</c:v>
                </c:pt>
                <c:pt idx="8">
                  <c:v>0.19259560503465833</c:v>
                </c:pt>
                <c:pt idx="9">
                  <c:v>2.0630292108918938E-2</c:v>
                </c:pt>
                <c:pt idx="10">
                  <c:v>5.5987963073084505E-2</c:v>
                </c:pt>
                <c:pt idx="11">
                  <c:v>6.2007113734392663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0.4345</c:v>
                </c:pt>
                <c:pt idx="4">
                  <c:v>0.21460000000000001</c:v>
                </c:pt>
                <c:pt idx="6">
                  <c:v>2.6700000000000002E-2</c:v>
                </c:pt>
                <c:pt idx="7">
                  <c:v>0.26690000000000003</c:v>
                </c:pt>
                <c:pt idx="9">
                  <c:v>5.6500000000000002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4.3734167837544734E-3</c:v>
                </c:pt>
                <c:pt idx="1">
                  <c:v>3.204776445831363E-2</c:v>
                </c:pt>
                <c:pt idx="2">
                  <c:v>8.4053595938634509E-3</c:v>
                </c:pt>
                <c:pt idx="3">
                  <c:v>9.5440009926194599E-2</c:v>
                </c:pt>
                <c:pt idx="4">
                  <c:v>2.9240642403088886E-2</c:v>
                </c:pt>
                <c:pt idx="5">
                  <c:v>0.1994191602003694</c:v>
                </c:pt>
                <c:pt idx="6">
                  <c:v>4.1250137374282493E-2</c:v>
                </c:pt>
                <c:pt idx="7">
                  <c:v>9.8233775504279225E-2</c:v>
                </c:pt>
                <c:pt idx="8">
                  <c:v>0.32526788548230701</c:v>
                </c:pt>
                <c:pt idx="9">
                  <c:v>4.6418593159612741E-2</c:v>
                </c:pt>
                <c:pt idx="10">
                  <c:v>0.1196734866057987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50 GR</c:v>
                </c:pt>
                <c:pt idx="6">
                  <c:v>250-349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0">
                  <c:v>1.0600378682627869E-7</c:v>
                </c:pt>
                <c:pt idx="1">
                  <c:v>1.7543291482773286E-2</c:v>
                </c:pt>
                <c:pt idx="3">
                  <c:v>8.6651828256586721E-3</c:v>
                </c:pt>
                <c:pt idx="5">
                  <c:v>1.0766128853804109E-3</c:v>
                </c:pt>
                <c:pt idx="8">
                  <c:v>1.0776193913363263E-2</c:v>
                </c:pt>
                <c:pt idx="10">
                  <c:v>2.2795160322909794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50 GR</c:v>
                </c:pt>
                <c:pt idx="6">
                  <c:v>250-349 GR</c:v>
                </c:pt>
                <c:pt idx="7">
                  <c:v>150-249 GR</c:v>
                </c:pt>
                <c:pt idx="8">
                  <c:v>150-250 GR</c:v>
                </c:pt>
                <c:pt idx="9">
                  <c:v>50-149 GR</c:v>
                </c:pt>
                <c:pt idx="10">
                  <c:v>50-150 GR</c:v>
                </c:pt>
                <c:pt idx="11">
                  <c:v>0-49 GR</c:v>
                </c:pt>
                <c:pt idx="12">
                  <c:v>0-50 GR</c:v>
                </c:pt>
              </c:strCache>
            </c:strRef>
          </c:cat>
          <c:val>
            <c:numRef>
              <c:f>Sheet1!$C$2:$C$14</c:f>
              <c:numCache>
                <c:formatCode>General</c:formatCode>
                <c:ptCount val="13"/>
                <c:pt idx="0">
                  <c:v>3.340444332363107E-6</c:v>
                </c:pt>
                <c:pt idx="1">
                  <c:v>4.4328080554185681E-3</c:v>
                </c:pt>
                <c:pt idx="2">
                  <c:v>7.082609890614427E-3</c:v>
                </c:pt>
                <c:pt idx="3">
                  <c:v>1.7375072748411328E-2</c:v>
                </c:pt>
                <c:pt idx="4">
                  <c:v>2.7267964932145252E-2</c:v>
                </c:pt>
                <c:pt idx="5">
                  <c:v>2.7520520279306199E-2</c:v>
                </c:pt>
                <c:pt idx="6">
                  <c:v>4.057716173323718E-2</c:v>
                </c:pt>
                <c:pt idx="7">
                  <c:v>9.6139414961390376E-2</c:v>
                </c:pt>
                <c:pt idx="8">
                  <c:v>5.8361703259306383E-2</c:v>
                </c:pt>
                <c:pt idx="9">
                  <c:v>4.4998575706619255E-2</c:v>
                </c:pt>
                <c:pt idx="10">
                  <c:v>2.515623434373758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50 GR</c:v>
                </c:pt>
                <c:pt idx="6">
                  <c:v>250-349 GR</c:v>
                </c:pt>
                <c:pt idx="7">
                  <c:v>150-249 GR</c:v>
                </c:pt>
                <c:pt idx="8">
                  <c:v>150-250 GR</c:v>
                </c:pt>
                <c:pt idx="9">
                  <c:v>50-149 GR</c:v>
                </c:pt>
                <c:pt idx="10">
                  <c:v>50-150 GR</c:v>
                </c:pt>
                <c:pt idx="11">
                  <c:v>0-49 GR</c:v>
                </c:pt>
                <c:pt idx="12">
                  <c:v>0-50 GR</c:v>
                </c:pt>
              </c:strCache>
            </c:strRef>
          </c:cat>
          <c:val>
            <c:numRef>
              <c:f>Sheet1!$D$2:$D$14</c:f>
              <c:numCache>
                <c:formatCode>General</c:formatCode>
                <c:ptCount val="13"/>
                <c:pt idx="0">
                  <c:v>4.6893425197275038E-6</c:v>
                </c:pt>
                <c:pt idx="1">
                  <c:v>7.1870567468216954E-6</c:v>
                </c:pt>
                <c:pt idx="3">
                  <c:v>5.8300201187237114E-3</c:v>
                </c:pt>
                <c:pt idx="5">
                  <c:v>9.365979160556542E-3</c:v>
                </c:pt>
                <c:pt idx="8">
                  <c:v>2.8995553697662518E-2</c:v>
                </c:pt>
                <c:pt idx="10">
                  <c:v>1.3883103953064068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50 GR</c:v>
                </c:pt>
                <c:pt idx="6">
                  <c:v>250-349 GR</c:v>
                </c:pt>
                <c:pt idx="7">
                  <c:v>150-249 GR</c:v>
                </c:pt>
                <c:pt idx="8">
                  <c:v>150-250 GR</c:v>
                </c:pt>
                <c:pt idx="9">
                  <c:v>50-149 GR</c:v>
                </c:pt>
                <c:pt idx="10">
                  <c:v>50-150 GR</c:v>
                </c:pt>
                <c:pt idx="11">
                  <c:v>0-49 GR</c:v>
                </c:pt>
                <c:pt idx="12">
                  <c:v>0-50 GR</c:v>
                </c:pt>
              </c:strCache>
            </c:strRef>
          </c:cat>
          <c:val>
            <c:numRef>
              <c:f>Sheet1!$E$2:$E$14</c:f>
              <c:numCache>
                <c:formatCode>General</c:formatCode>
                <c:ptCount val="13"/>
                <c:pt idx="1">
                  <c:v>2.2930487407266894E-3</c:v>
                </c:pt>
                <c:pt idx="3">
                  <c:v>6.7667782330022063E-3</c:v>
                </c:pt>
                <c:pt idx="5">
                  <c:v>6.7024789860080569E-3</c:v>
                </c:pt>
                <c:pt idx="8">
                  <c:v>2.525681206172568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50 GR</c:v>
                </c:pt>
                <c:pt idx="6">
                  <c:v>250-349 GR</c:v>
                </c:pt>
                <c:pt idx="7">
                  <c:v>150-249 GR</c:v>
                </c:pt>
                <c:pt idx="8">
                  <c:v>150-250 GR</c:v>
                </c:pt>
                <c:pt idx="9">
                  <c:v>50-149 GR</c:v>
                </c:pt>
                <c:pt idx="10">
                  <c:v>50-150 GR</c:v>
                </c:pt>
                <c:pt idx="11">
                  <c:v>0-49 GR</c:v>
                </c:pt>
                <c:pt idx="12">
                  <c:v>0-50 GR</c:v>
                </c:pt>
              </c:strCache>
            </c:strRef>
          </c:cat>
          <c:val>
            <c:numRef>
              <c:f>Sheet1!$F$2:$F$14</c:f>
              <c:numCache>
                <c:formatCode>General</c:formatCode>
                <c:ptCount val="13"/>
                <c:pt idx="0">
                  <c:v>4.3652809931155577E-3</c:v>
                </c:pt>
                <c:pt idx="1">
                  <c:v>2.604116853168404E-3</c:v>
                </c:pt>
                <c:pt idx="2">
                  <c:v>6.4900619727288828E-3</c:v>
                </c:pt>
                <c:pt idx="3">
                  <c:v>5.6802956000398676E-2</c:v>
                </c:pt>
                <c:pt idx="4">
                  <c:v>1.9726774709436334E-3</c:v>
                </c:pt>
                <c:pt idx="5">
                  <c:v>3.0762187633009908E-2</c:v>
                </c:pt>
                <c:pt idx="6">
                  <c:v>0.12466435689715362</c:v>
                </c:pt>
                <c:pt idx="7">
                  <c:v>0.16834745211020544</c:v>
                </c:pt>
                <c:pt idx="8">
                  <c:v>3.562453098293257E-2</c:v>
                </c:pt>
                <c:pt idx="9">
                  <c:v>1.4200174529934821E-3</c:v>
                </c:pt>
                <c:pt idx="10">
                  <c:v>9.084942583446380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0.33450000000000002</c:v>
                </c:pt>
                <c:pt idx="3">
                  <c:v>0.21790000000000001</c:v>
                </c:pt>
                <c:pt idx="6">
                  <c:v>9.3799999999999994E-2</c:v>
                </c:pt>
                <c:pt idx="8">
                  <c:v>0.33350000000000002</c:v>
                </c:pt>
                <c:pt idx="9">
                  <c:v>2.0299999999999999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7.2960365324271645E-3</c:v>
                </c:pt>
                <c:pt idx="1">
                  <c:v>3.6114911038373609E-2</c:v>
                </c:pt>
                <c:pt idx="4">
                  <c:v>0.13704769360926553</c:v>
                </c:pt>
                <c:pt idx="5">
                  <c:v>0.26434531785433935</c:v>
                </c:pt>
                <c:pt idx="6">
                  <c:v>1.1162341815090673E-3</c:v>
                </c:pt>
                <c:pt idx="7">
                  <c:v>0.40059200559975933</c:v>
                </c:pt>
                <c:pt idx="8">
                  <c:v>3.3359109177129491E-3</c:v>
                </c:pt>
                <c:pt idx="9">
                  <c:v>8.6189692849985005E-4</c:v>
                </c:pt>
                <c:pt idx="10">
                  <c:v>0.14397146372186226</c:v>
                </c:pt>
                <c:pt idx="12">
                  <c:v>5.2192045553033015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B$2:$B$14</c:f>
              <c:numCache>
                <c:formatCode>General</c:formatCode>
                <c:ptCount val="13"/>
                <c:pt idx="1">
                  <c:v>1.3117158676907078E-2</c:v>
                </c:pt>
                <c:pt idx="4">
                  <c:v>8.5449388532332117E-3</c:v>
                </c:pt>
                <c:pt idx="5">
                  <c:v>3.6803737621203944E-3</c:v>
                </c:pt>
                <c:pt idx="7">
                  <c:v>1.3079844404369269E-2</c:v>
                </c:pt>
                <c:pt idx="10">
                  <c:v>7.9761191854968742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C$2:$C$14</c:f>
              <c:numCache>
                <c:formatCode>General</c:formatCode>
                <c:ptCount val="13"/>
                <c:pt idx="1">
                  <c:v>1.5760678673748484E-2</c:v>
                </c:pt>
                <c:pt idx="4">
                  <c:v>4.6103620658581278E-2</c:v>
                </c:pt>
                <c:pt idx="5">
                  <c:v>6.1193146650079411E-2</c:v>
                </c:pt>
                <c:pt idx="7">
                  <c:v>0.13350723489422542</c:v>
                </c:pt>
                <c:pt idx="10">
                  <c:v>6.8489508319683992E-2</c:v>
                </c:pt>
                <c:pt idx="12">
                  <c:v>5.1706321906597038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D$2:$D$14</c:f>
              <c:numCache>
                <c:formatCode>General</c:formatCode>
                <c:ptCount val="13"/>
                <c:pt idx="4">
                  <c:v>7.623440976579801E-3</c:v>
                </c:pt>
                <c:pt idx="5">
                  <c:v>1.2151567330631614E-2</c:v>
                </c:pt>
                <c:pt idx="7">
                  <c:v>3.6291109308011986E-2</c:v>
                </c:pt>
                <c:pt idx="10">
                  <c:v>1.5148575771281414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E$2:$E$14</c:f>
              <c:numCache>
                <c:formatCode>General</c:formatCode>
                <c:ptCount val="13"/>
                <c:pt idx="1">
                  <c:v>3.2742217890776816E-3</c:v>
                </c:pt>
                <c:pt idx="4">
                  <c:v>1.4514827774046012E-2</c:v>
                </c:pt>
                <c:pt idx="5">
                  <c:v>2.8338852061674934E-2</c:v>
                </c:pt>
                <c:pt idx="7">
                  <c:v>2.0127270966473928E-2</c:v>
                </c:pt>
                <c:pt idx="10">
                  <c:v>2.03721392512039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F$2:$F$14</c:f>
              <c:numCache>
                <c:formatCode>General</c:formatCode>
                <c:ptCount val="13"/>
                <c:pt idx="0">
                  <c:v>7.2960365324271645E-3</c:v>
                </c:pt>
                <c:pt idx="1">
                  <c:v>3.9628518986403729E-3</c:v>
                </c:pt>
                <c:pt idx="3">
                  <c:v>9.9325060947528981E-5</c:v>
                </c:pt>
                <c:pt idx="4">
                  <c:v>6.0260865346825211E-2</c:v>
                </c:pt>
                <c:pt idx="5">
                  <c:v>1.1162341815090673E-3</c:v>
                </c:pt>
                <c:pt idx="6">
                  <c:v>0.15898137804983301</c:v>
                </c:pt>
                <c:pt idx="7">
                  <c:v>0.19758654602667877</c:v>
                </c:pt>
                <c:pt idx="8">
                  <c:v>3.3359109177129496E-3</c:v>
                </c:pt>
                <c:pt idx="9">
                  <c:v>8.6189692849985005E-4</c:v>
                </c:pt>
                <c:pt idx="10">
                  <c:v>7.1132271981380071E-2</c:v>
                </c:pt>
                <c:pt idx="11">
                  <c:v>4.857236464359783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5">
                  <c:v>0.47914751728301275</c:v>
                </c:pt>
                <c:pt idx="6">
                  <c:v>1.8221491435368168E-2</c:v>
                </c:pt>
                <c:pt idx="7">
                  <c:v>2.4821357447577314E-2</c:v>
                </c:pt>
                <c:pt idx="9">
                  <c:v>3.191924475174359E-2</c:v>
                </c:pt>
                <c:pt idx="10">
                  <c:v>0.44318587347492583</c:v>
                </c:pt>
                <c:pt idx="11">
                  <c:v>1.7177710038123334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50 GR</c:v>
                </c:pt>
                <c:pt idx="10">
                  <c:v>50-149 GR</c:v>
                </c:pt>
                <c:pt idx="11">
                  <c:v>0-50 GR</c:v>
                </c:pt>
                <c:pt idx="12">
                  <c:v>0-49 GR</c:v>
                </c:pt>
              </c:strCache>
            </c:strRef>
          </c:cat>
          <c:val>
            <c:numRef>
              <c:f>Sheet1!$B$2:$B$14</c:f>
              <c:numCache>
                <c:formatCode>General</c:formatCode>
                <c:ptCount val="13"/>
                <c:pt idx="4">
                  <c:v>6.3827322484260708E-3</c:v>
                </c:pt>
                <c:pt idx="6">
                  <c:v>2.9900386807783577E-3</c:v>
                </c:pt>
                <c:pt idx="7">
                  <c:v>1.0631271066540742E-7</c:v>
                </c:pt>
                <c:pt idx="8">
                  <c:v>1.1047008723508169E-2</c:v>
                </c:pt>
                <c:pt idx="9">
                  <c:v>5.4890991360037854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50 GR</c:v>
                </c:pt>
                <c:pt idx="10">
                  <c:v>50-149 GR</c:v>
                </c:pt>
                <c:pt idx="11">
                  <c:v>0-50 GR</c:v>
                </c:pt>
                <c:pt idx="12">
                  <c:v>0-49 GR</c:v>
                </c:pt>
              </c:strCache>
            </c:strRef>
          </c:cat>
          <c:val>
            <c:numRef>
              <c:f>Sheet1!$C$2:$C$14</c:f>
              <c:numCache>
                <c:formatCode>General</c:formatCode>
                <c:ptCount val="13"/>
                <c:pt idx="0">
                  <c:v>2.7611550728347245E-4</c:v>
                </c:pt>
                <c:pt idx="1">
                  <c:v>7.9772084810755019E-3</c:v>
                </c:pt>
                <c:pt idx="2">
                  <c:v>9.1025111800817175E-3</c:v>
                </c:pt>
                <c:pt idx="3">
                  <c:v>2.9218719617503913E-2</c:v>
                </c:pt>
                <c:pt idx="4">
                  <c:v>2.5242062493065983E-2</c:v>
                </c:pt>
                <c:pt idx="5">
                  <c:v>4.550431193531735E-2</c:v>
                </c:pt>
                <c:pt idx="6">
                  <c:v>3.8440410950062252E-2</c:v>
                </c:pt>
                <c:pt idx="7">
                  <c:v>8.9420564916458931E-2</c:v>
                </c:pt>
                <c:pt idx="8">
                  <c:v>7.2827084907111039E-2</c:v>
                </c:pt>
                <c:pt idx="9">
                  <c:v>3.3491213482292545E-2</c:v>
                </c:pt>
                <c:pt idx="10">
                  <c:v>4.4421245564443664E-2</c:v>
                </c:pt>
                <c:pt idx="11">
                  <c:v>6.8357811620611787E-4</c:v>
                </c:pt>
                <c:pt idx="12">
                  <c:v>9.6517075523800295E-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50 GR</c:v>
                </c:pt>
                <c:pt idx="10">
                  <c:v>50-149 GR</c:v>
                </c:pt>
                <c:pt idx="11">
                  <c:v>0-50 GR</c:v>
                </c:pt>
                <c:pt idx="12">
                  <c:v>0-49 GR</c:v>
                </c:pt>
              </c:strCache>
            </c:strRef>
          </c:cat>
          <c:val>
            <c:numRef>
              <c:f>Sheet1!$D$2:$D$14</c:f>
              <c:numCache>
                <c:formatCode>General</c:formatCode>
                <c:ptCount val="13"/>
                <c:pt idx="0">
                  <c:v>4.0874083907736199E-6</c:v>
                </c:pt>
                <c:pt idx="1">
                  <c:v>6.1087013261790571E-5</c:v>
                </c:pt>
                <c:pt idx="4">
                  <c:v>6.1008492765890002E-3</c:v>
                </c:pt>
                <c:pt idx="6">
                  <c:v>8.930488880389718E-3</c:v>
                </c:pt>
                <c:pt idx="8">
                  <c:v>2.8507312797848364E-2</c:v>
                </c:pt>
                <c:pt idx="9">
                  <c:v>1.6102269562598566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price Des Dieux</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50 GR</c:v>
                </c:pt>
                <c:pt idx="10">
                  <c:v>50-149 GR</c:v>
                </c:pt>
                <c:pt idx="11">
                  <c:v>0-50 GR</c:v>
                </c:pt>
                <c:pt idx="12">
                  <c:v>0-49 GR</c:v>
                </c:pt>
              </c:strCache>
            </c:strRef>
          </c:cat>
          <c:val>
            <c:numRef>
              <c:f>Sheet1!$E$2:$E$14</c:f>
              <c:numCache>
                <c:formatCode>General</c:formatCode>
                <c:ptCount val="13"/>
                <c:pt idx="6">
                  <c:v>2.2803205664553128E-2</c:v>
                </c:pt>
                <c:pt idx="8">
                  <c:v>1.8656379279979648E-2</c:v>
                </c:pt>
                <c:pt idx="9">
                  <c:v>8.1899640904291218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50 GR</c:v>
                </c:pt>
                <c:pt idx="10">
                  <c:v>50-149 GR</c:v>
                </c:pt>
                <c:pt idx="11">
                  <c:v>0-50 GR</c:v>
                </c:pt>
                <c:pt idx="12">
                  <c:v>0-49 GR</c:v>
                </c:pt>
              </c:strCache>
            </c:strRef>
          </c:cat>
          <c:val>
            <c:numRef>
              <c:f>Sheet1!$F$2:$F$14</c:f>
              <c:numCache>
                <c:formatCode>General</c:formatCode>
                <c:ptCount val="13"/>
                <c:pt idx="0">
                  <c:v>4.5752877810016886E-3</c:v>
                </c:pt>
                <c:pt idx="1">
                  <c:v>2.8782619022145774E-3</c:v>
                </c:pt>
                <c:pt idx="2">
                  <c:v>1.8183993165420714E-2</c:v>
                </c:pt>
                <c:pt idx="3">
                  <c:v>1.1604919809976725E-3</c:v>
                </c:pt>
                <c:pt idx="4">
                  <c:v>5.9874869745841455E-2</c:v>
                </c:pt>
                <c:pt idx="5">
                  <c:v>0.11200780869742895</c:v>
                </c:pt>
                <c:pt idx="6">
                  <c:v>2.7288469103500596E-2</c:v>
                </c:pt>
                <c:pt idx="7">
                  <c:v>1.3664167734522474E-3</c:v>
                </c:pt>
                <c:pt idx="8">
                  <c:v>0.18980205116324833</c:v>
                </c:pt>
                <c:pt idx="9">
                  <c:v>2.0630304046575006E-2</c:v>
                </c:pt>
                <c:pt idx="10">
                  <c:v>5.2142744722474814E-2</c:v>
                </c:pt>
                <c:pt idx="11">
                  <c:v>7.3003271646861288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C$2:$C$14</c:f>
              <c:numCache>
                <c:formatCode>General</c:formatCode>
                <c:ptCount val="13"/>
                <c:pt idx="5">
                  <c:v>0.47884875674368316</c:v>
                </c:pt>
                <c:pt idx="6">
                  <c:v>1.8192671495240512E-2</c:v>
                </c:pt>
                <c:pt idx="10">
                  <c:v>0.1067353439492462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D$2:$D$14</c:f>
              <c:numCache>
                <c:formatCode>General</c:formatCode>
                <c:ptCount val="13"/>
                <c:pt idx="10">
                  <c:v>0.1451477701234958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E$2:$E$14</c:f>
              <c:numCache>
                <c:formatCode>General</c:formatCode>
                <c:ptCount val="13"/>
                <c:pt idx="9">
                  <c:v>7.3340075682900804E-4</c:v>
                </c:pt>
                <c:pt idx="10">
                  <c:v>8.643750143114342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F$2:$F$14</c:f>
              <c:numCache>
                <c:formatCode>General</c:formatCode>
                <c:ptCount val="13"/>
                <c:pt idx="5">
                  <c:v>2.987605393295879E-4</c:v>
                </c:pt>
                <c:pt idx="6">
                  <c:v>2.8819940127654717E-5</c:v>
                </c:pt>
                <c:pt idx="7">
                  <c:v>2.4821357447577318E-2</c:v>
                </c:pt>
                <c:pt idx="8">
                  <c:v>1.9749423133449203E-4</c:v>
                </c:pt>
                <c:pt idx="9">
                  <c:v>3.1185843994914586E-2</c:v>
                </c:pt>
                <c:pt idx="10">
                  <c:v>0.10486525797104031</c:v>
                </c:pt>
                <c:pt idx="11">
                  <c:v>4.3635450294777795E-4</c:v>
                </c:pt>
                <c:pt idx="12">
                  <c:v>1.7177710038123334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5">
                  <c:v>0.46945324985376724</c:v>
                </c:pt>
                <c:pt idx="6">
                  <c:v>1.7951669769388317E-2</c:v>
                </c:pt>
                <c:pt idx="7">
                  <c:v>1.9052357072915777E-2</c:v>
                </c:pt>
                <c:pt idx="9">
                  <c:v>3.4069438447435908E-2</c:v>
                </c:pt>
                <c:pt idx="10">
                  <c:v>0.45200352226145757</c:v>
                </c:pt>
                <c:pt idx="11">
                  <c:v>7.4527147212684278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C$2:$C$14</c:f>
              <c:numCache>
                <c:formatCode>General</c:formatCode>
                <c:ptCount val="13"/>
                <c:pt idx="5">
                  <c:v>0.4689919483590671</c:v>
                </c:pt>
                <c:pt idx="6">
                  <c:v>1.7951669769388317E-2</c:v>
                </c:pt>
                <c:pt idx="10">
                  <c:v>0.1245526711651150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D$2:$D$14</c:f>
              <c:numCache>
                <c:formatCode>General</c:formatCode>
                <c:ptCount val="13"/>
                <c:pt idx="10">
                  <c:v>0.1478521218277793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E$2:$E$14</c:f>
              <c:numCache>
                <c:formatCode>General</c:formatCode>
                <c:ptCount val="13"/>
                <c:pt idx="9">
                  <c:v>1.3558621545661643E-3</c:v>
                </c:pt>
                <c:pt idx="10">
                  <c:v>9.383235089894680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F$2:$F$14</c:f>
              <c:numCache>
                <c:formatCode>General</c:formatCode>
                <c:ptCount val="13"/>
                <c:pt idx="5">
                  <c:v>4.6130149470014202E-4</c:v>
                </c:pt>
                <c:pt idx="7">
                  <c:v>1.402116476713083E-5</c:v>
                </c:pt>
                <c:pt idx="8">
                  <c:v>1.9052357072915773E-2</c:v>
                </c:pt>
                <c:pt idx="9">
                  <c:v>8.576637836961637E-2</c:v>
                </c:pt>
                <c:pt idx="10">
                  <c:v>3.2713576292869744E-2</c:v>
                </c:pt>
                <c:pt idx="11">
                  <c:v>3.0267089995466923E-6</c:v>
                </c:pt>
                <c:pt idx="12">
                  <c:v>7.4527147212684278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5">
                  <c:v>0.49944007839767784</c:v>
                </c:pt>
                <c:pt idx="6">
                  <c:v>1.6155373871998238E-2</c:v>
                </c:pt>
                <c:pt idx="7">
                  <c:v>3.1881979303787146E-2</c:v>
                </c:pt>
                <c:pt idx="9">
                  <c:v>1.2662711277150168E-3</c:v>
                </c:pt>
                <c:pt idx="10">
                  <c:v>0.4512544092596991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C$2:$C$14</c:f>
              <c:numCache>
                <c:formatCode>General</c:formatCode>
                <c:ptCount val="13"/>
                <c:pt idx="5">
                  <c:v>0.49943703655686905</c:v>
                </c:pt>
                <c:pt idx="6">
                  <c:v>1.6018569703900136E-2</c:v>
                </c:pt>
                <c:pt idx="10">
                  <c:v>9.477725635556580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D$2:$D$14</c:f>
              <c:numCache>
                <c:formatCode>General</c:formatCode>
                <c:ptCount val="13"/>
                <c:pt idx="10">
                  <c:v>0.1240487593445808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E$2:$E$14</c:f>
              <c:numCache>
                <c:formatCode>General</c:formatCode>
                <c:ptCount val="13"/>
                <c:pt idx="9">
                  <c:v>1.2662711277150168E-3</c:v>
                </c:pt>
                <c:pt idx="10">
                  <c:v>0.11085873447412328</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F$2:$F$14</c:f>
              <c:numCache>
                <c:formatCode>General</c:formatCode>
                <c:ptCount val="13"/>
                <c:pt idx="5">
                  <c:v>3.0418408087751233E-6</c:v>
                </c:pt>
                <c:pt idx="6">
                  <c:v>1.3680416809810187E-4</c:v>
                </c:pt>
                <c:pt idx="8">
                  <c:v>3.1881979303787146E-2</c:v>
                </c:pt>
                <c:pt idx="9">
                  <c:v>0.1215696590854291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6">
                  <c:v>0.1229</c:v>
                </c:pt>
                <c:pt idx="7">
                  <c:v>0.8770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3150243301704233E-3</c:v>
                </c:pt>
                <c:pt idx="1">
                  <c:v>3.1961258290724277E-2</c:v>
                </c:pt>
                <c:pt idx="3">
                  <c:v>2.0730484529548742E-3</c:v>
                </c:pt>
                <c:pt idx="4">
                  <c:v>2.3475277936841061E-3</c:v>
                </c:pt>
                <c:pt idx="5">
                  <c:v>0.38162748586160972</c:v>
                </c:pt>
                <c:pt idx="8">
                  <c:v>0.56629855976839949</c:v>
                </c:pt>
                <c:pt idx="10">
                  <c:v>1.4377095502457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1.1172739562999571E-6</c:v>
                </c:pt>
                <c:pt idx="5">
                  <c:v>5.1615494878992614E-3</c:v>
                </c:pt>
                <c:pt idx="8">
                  <c:v>3.6835582975118936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C$2:$C$14</c:f>
              <c:numCache>
                <c:formatCode>General</c:formatCode>
                <c:ptCount val="13"/>
                <c:pt idx="0">
                  <c:v>1.060342799291042E-6</c:v>
                </c:pt>
                <c:pt idx="4">
                  <c:v>1.1867228514562073E-3</c:v>
                </c:pt>
                <c:pt idx="5">
                  <c:v>0.23688913526795938</c:v>
                </c:pt>
                <c:pt idx="8">
                  <c:v>0.31052419263186432</c:v>
                </c:pt>
                <c:pt idx="10">
                  <c:v>1.1288238647781405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D$2:$D$14</c:f>
              <c:numCache>
                <c:formatCode>General</c:formatCode>
                <c:ptCount val="13"/>
                <c:pt idx="0">
                  <c:v>1.6011887908757345E-6</c:v>
                </c:pt>
                <c:pt idx="5">
                  <c:v>8.9076694338482518E-2</c:v>
                </c:pt>
                <c:pt idx="8">
                  <c:v>0.1543302400216156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E$2:$E$14</c:f>
              <c:numCache>
                <c:formatCode>General</c:formatCode>
                <c:ptCount val="13"/>
                <c:pt idx="1">
                  <c:v>2.1680580143292022E-2</c:v>
                </c:pt>
                <c:pt idx="5">
                  <c:v>2.8282260178888796E-2</c:v>
                </c:pt>
                <c:pt idx="8">
                  <c:v>8.2003425063802392E-3</c:v>
                </c:pt>
                <c:pt idx="10">
                  <c:v>2.84254420387662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F$2:$F$14</c:f>
              <c:numCache>
                <c:formatCode>General</c:formatCode>
                <c:ptCount val="13"/>
                <c:pt idx="0">
                  <c:v>1.3112455246239566E-3</c:v>
                </c:pt>
                <c:pt idx="1">
                  <c:v>1.0280678147432254E-2</c:v>
                </c:pt>
                <c:pt idx="3">
                  <c:v>1.1608049422278987E-3</c:v>
                </c:pt>
                <c:pt idx="4">
                  <c:v>2.0730484529548742E-3</c:v>
                </c:pt>
                <c:pt idx="5">
                  <c:v>2.2217846588379778E-2</c:v>
                </c:pt>
                <c:pt idx="8">
                  <c:v>5.6408201633420363E-2</c:v>
                </c:pt>
                <c:pt idx="10">
                  <c:v>1.040572743380233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4">
                  <c:v>0.32890000000000003</c:v>
                </c:pt>
                <c:pt idx="6">
                  <c:v>8.0799999999999997E-2</c:v>
                </c:pt>
                <c:pt idx="7">
                  <c:v>0.33789999999999998</c:v>
                </c:pt>
                <c:pt idx="9">
                  <c:v>0.2524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5">
                  <c:v>3.1300000000000001E-2</c:v>
                </c:pt>
                <c:pt idx="8">
                  <c:v>0.9687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7.1338356994032058E-4</c:v>
                </c:pt>
                <c:pt idx="1">
                  <c:v>1.9618191826917E-2</c:v>
                </c:pt>
                <c:pt idx="4">
                  <c:v>7.402755160323117E-4</c:v>
                </c:pt>
                <c:pt idx="6">
                  <c:v>0.32972950609608243</c:v>
                </c:pt>
                <c:pt idx="7">
                  <c:v>0.64555949613227182</c:v>
                </c:pt>
                <c:pt idx="9">
                  <c:v>3.639146858756374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B$2:$B$14</c:f>
              <c:numCache>
                <c:formatCode>General</c:formatCode>
                <c:ptCount val="13"/>
                <c:pt idx="6">
                  <c:v>2.9982796049871918E-3</c:v>
                </c:pt>
                <c:pt idx="7">
                  <c:v>9.2696653101940016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C$2:$C$14</c:f>
              <c:numCache>
                <c:formatCode>General</c:formatCode>
                <c:ptCount val="13"/>
                <c:pt idx="6">
                  <c:v>0.23728694740785775</c:v>
                </c:pt>
                <c:pt idx="7">
                  <c:v>0.2735284991421009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D$2:$D$14</c:f>
              <c:numCache>
                <c:formatCode>General</c:formatCode>
                <c:ptCount val="13"/>
                <c:pt idx="0">
                  <c:v>1.2928820236534203E-5</c:v>
                </c:pt>
                <c:pt idx="6">
                  <c:v>5.3712525096276616E-2</c:v>
                </c:pt>
                <c:pt idx="7">
                  <c:v>0.2029274871315142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E$2:$E$14</c:f>
              <c:numCache>
                <c:formatCode>General</c:formatCode>
                <c:ptCount val="13"/>
                <c:pt idx="1">
                  <c:v>1.2877219878434614E-2</c:v>
                </c:pt>
                <c:pt idx="6">
                  <c:v>2.4612738737848347E-2</c:v>
                </c:pt>
                <c:pt idx="7">
                  <c:v>8.2260624329856154E-3</c:v>
                </c:pt>
                <c:pt idx="9">
                  <c:v>1.7571128622799084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F$2:$F$14</c:f>
              <c:numCache>
                <c:formatCode>General</c:formatCode>
                <c:ptCount val="13"/>
                <c:pt idx="0">
                  <c:v>7.0045474970378634E-4</c:v>
                </c:pt>
                <c:pt idx="1">
                  <c:v>6.7409719484823865E-3</c:v>
                </c:pt>
                <c:pt idx="4">
                  <c:v>7.402755160323117E-4</c:v>
                </c:pt>
                <c:pt idx="6">
                  <c:v>1.1119015249112508E-2</c:v>
                </c:pt>
                <c:pt idx="7">
                  <c:v>6.8180794323730767E-2</c:v>
                </c:pt>
                <c:pt idx="9">
                  <c:v>1.8820339964764655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6">
                  <c:v>0.16109999999999999</c:v>
                </c:pt>
                <c:pt idx="7">
                  <c:v>0.83889999999999998</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8809060429939978E-3</c:v>
                </c:pt>
                <c:pt idx="1">
                  <c:v>4.8549042425449891E-2</c:v>
                </c:pt>
                <c:pt idx="3">
                  <c:v>8.2437754753488194E-3</c:v>
                </c:pt>
                <c:pt idx="4">
                  <c:v>2.2353924353407596E-3</c:v>
                </c:pt>
                <c:pt idx="5">
                  <c:v>0.47110126521021412</c:v>
                </c:pt>
                <c:pt idx="8">
                  <c:v>0.45221803035632874</c:v>
                </c:pt>
                <c:pt idx="10">
                  <c:v>1.577158805432363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5">
                  <c:v>4.8110080391944333E-6</c:v>
                </c:pt>
                <c:pt idx="8">
                  <c:v>2.5045541851100435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C$2:$C$14</c:f>
              <c:numCache>
                <c:formatCode>General</c:formatCode>
                <c:ptCount val="13"/>
                <c:pt idx="5">
                  <c:v>0.25417928023357728</c:v>
                </c:pt>
                <c:pt idx="8">
                  <c:v>0.2016954275330594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D$2:$D$14</c:f>
              <c:numCache>
                <c:formatCode>General</c:formatCode>
                <c:ptCount val="13"/>
                <c:pt idx="5">
                  <c:v>0.16411194593106165</c:v>
                </c:pt>
                <c:pt idx="8">
                  <c:v>0.1974017726583621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E$2:$E$14</c:f>
              <c:numCache>
                <c:formatCode>General</c:formatCode>
                <c:ptCount val="13"/>
                <c:pt idx="1">
                  <c:v>3.340101761310043E-2</c:v>
                </c:pt>
                <c:pt idx="5">
                  <c:v>2.4217029666656571E-2</c:v>
                </c:pt>
                <c:pt idx="8">
                  <c:v>9.5220603113627799E-3</c:v>
                </c:pt>
                <c:pt idx="10">
                  <c:v>4.0924132384225218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F$2:$F$14</c:f>
              <c:numCache>
                <c:formatCode>General</c:formatCode>
                <c:ptCount val="13"/>
                <c:pt idx="0">
                  <c:v>1.8809060429939978E-3</c:v>
                </c:pt>
                <c:pt idx="1">
                  <c:v>1.5148024812349462E-2</c:v>
                </c:pt>
                <c:pt idx="3">
                  <c:v>2.2353924353407596E-3</c:v>
                </c:pt>
                <c:pt idx="4">
                  <c:v>8.2437754753488194E-3</c:v>
                </c:pt>
                <c:pt idx="5">
                  <c:v>2.8588198370879479E-2</c:v>
                </c:pt>
                <c:pt idx="8">
                  <c:v>4.3573724311693325E-2</c:v>
                </c:pt>
                <c:pt idx="10">
                  <c:v>1.167917481590111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0.35260000000000002</c:v>
                </c:pt>
                <c:pt idx="3">
                  <c:v>0.20860000000000001</c:v>
                </c:pt>
                <c:pt idx="5">
                  <c:v>0.13139999999999999</c:v>
                </c:pt>
                <c:pt idx="7">
                  <c:v>0.25600000000000001</c:v>
                </c:pt>
                <c:pt idx="10">
                  <c:v>5.0999999999999997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1.094197216483182E-2</c:v>
                </c:pt>
                <c:pt idx="2">
                  <c:v>9.6880276114732294E-2</c:v>
                </c:pt>
                <c:pt idx="3">
                  <c:v>5.3446014819036151E-2</c:v>
                </c:pt>
                <c:pt idx="4">
                  <c:v>0.17693155055074417</c:v>
                </c:pt>
                <c:pt idx="5">
                  <c:v>2.2104341013370931E-3</c:v>
                </c:pt>
                <c:pt idx="6">
                  <c:v>0.15056949109524098</c:v>
                </c:pt>
                <c:pt idx="7">
                  <c:v>4.2047893689314997E-2</c:v>
                </c:pt>
                <c:pt idx="8">
                  <c:v>0.29352518203765332</c:v>
                </c:pt>
                <c:pt idx="9">
                  <c:v>0.16639940016881108</c:v>
                </c:pt>
                <c:pt idx="10">
                  <c:v>6.693498475671169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2">
                  <c:v>9.318942391174119E-2</c:v>
                </c:pt>
                <c:pt idx="4">
                  <c:v>5.5137933884248834E-2</c:v>
                </c:pt>
                <c:pt idx="5">
                  <c:v>5.3555300874040423E-8</c:v>
                </c:pt>
                <c:pt idx="6">
                  <c:v>3.4736632971327265E-2</c:v>
                </c:pt>
                <c:pt idx="8">
                  <c:v>6.7670136525075128E-2</c:v>
                </c:pt>
                <c:pt idx="9">
                  <c:v>1.347819054832375E-2</c:v>
                </c:pt>
                <c:pt idx="10">
                  <c:v>9.7876929183591113E-8</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50 GR</c:v>
                </c:pt>
                <c:pt idx="10">
                  <c:v>50-149 GR</c:v>
                </c:pt>
                <c:pt idx="11">
                  <c:v>0-49 GR</c:v>
                </c:pt>
                <c:pt idx="12">
                  <c:v>0-50 GR</c:v>
                </c:pt>
              </c:strCache>
            </c:strRef>
          </c:cat>
          <c:val>
            <c:numRef>
              <c:f>Sheet1!$C$2:$C$14</c:f>
              <c:numCache>
                <c:formatCode>General</c:formatCode>
                <c:ptCount val="13"/>
                <c:pt idx="1">
                  <c:v>5.4007990905187101E-3</c:v>
                </c:pt>
                <c:pt idx="2">
                  <c:v>4.9861831848244531E-8</c:v>
                </c:pt>
                <c:pt idx="3">
                  <c:v>6.9032062600178079E-3</c:v>
                </c:pt>
                <c:pt idx="4">
                  <c:v>2.8129901470010092E-2</c:v>
                </c:pt>
                <c:pt idx="6">
                  <c:v>8.9897595634951935E-2</c:v>
                </c:pt>
                <c:pt idx="7">
                  <c:v>2.9386052132417788E-3</c:v>
                </c:pt>
                <c:pt idx="8">
                  <c:v>4.1592608996177706E-2</c:v>
                </c:pt>
                <c:pt idx="9">
                  <c:v>7.0429619570972879E-2</c:v>
                </c:pt>
                <c:pt idx="10">
                  <c:v>1.3940352480787078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Kir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50 GR</c:v>
                </c:pt>
                <c:pt idx="10">
                  <c:v>50-149 GR</c:v>
                </c:pt>
                <c:pt idx="11">
                  <c:v>0-49 GR</c:v>
                </c:pt>
                <c:pt idx="12">
                  <c:v>0-50 GR</c:v>
                </c:pt>
              </c:strCache>
            </c:strRef>
          </c:cat>
          <c:val>
            <c:numRef>
              <c:f>Sheet1!$D$2:$D$14</c:f>
              <c:numCache>
                <c:formatCode>General</c:formatCode>
                <c:ptCount val="13"/>
                <c:pt idx="4">
                  <c:v>5.2332068254325133E-2</c:v>
                </c:pt>
                <c:pt idx="6">
                  <c:v>2.4515348950153868E-2</c:v>
                </c:pt>
                <c:pt idx="7">
                  <c:v>8.7165869008783035E-7</c:v>
                </c:pt>
                <c:pt idx="8">
                  <c:v>8.5178876856365007E-2</c:v>
                </c:pt>
                <c:pt idx="9">
                  <c:v>3.961192528885573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50 GR</c:v>
                </c:pt>
                <c:pt idx="10">
                  <c:v>50-149 GR</c:v>
                </c:pt>
                <c:pt idx="11">
                  <c:v>0-49 GR</c:v>
                </c:pt>
                <c:pt idx="12">
                  <c:v>0-50 GR</c:v>
                </c:pt>
              </c:strCache>
            </c:strRef>
          </c:cat>
          <c:val>
            <c:numRef>
              <c:f>Sheet1!$E$2:$E$14</c:f>
              <c:numCache>
                <c:formatCode>General</c:formatCode>
                <c:ptCount val="13"/>
                <c:pt idx="1">
                  <c:v>5.5411730743131085E-3</c:v>
                </c:pt>
                <c:pt idx="2">
                  <c:v>3.6908023411592666E-3</c:v>
                </c:pt>
                <c:pt idx="3">
                  <c:v>4.6542808559018344E-2</c:v>
                </c:pt>
                <c:pt idx="4">
                  <c:v>3.8093706378457201E-2</c:v>
                </c:pt>
                <c:pt idx="5">
                  <c:v>2.2103805460362189E-3</c:v>
                </c:pt>
                <c:pt idx="6">
                  <c:v>1.4198599835070725E-3</c:v>
                </c:pt>
                <c:pt idx="7">
                  <c:v>3.9108416817383133E-2</c:v>
                </c:pt>
                <c:pt idx="8">
                  <c:v>3.8513738756477789E-2</c:v>
                </c:pt>
                <c:pt idx="9">
                  <c:v>4.8314526869267863E-3</c:v>
                </c:pt>
                <c:pt idx="10">
                  <c:v>5.2993136420969164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50 GR</c:v>
                </c:pt>
                <c:pt idx="10">
                  <c:v>50-149 GR</c:v>
                </c:pt>
                <c:pt idx="11">
                  <c:v>0-49 GR</c:v>
                </c:pt>
                <c:pt idx="12">
                  <c:v>0-50 GR</c:v>
                </c:pt>
              </c:strCache>
            </c:strRef>
          </c:cat>
          <c:val>
            <c:numRef>
              <c:f>Sheet1!$F$2:$F$14</c:f>
              <c:numCache>
                <c:formatCode>General</c:formatCode>
                <c:ptCount val="13"/>
                <c:pt idx="4">
                  <c:v>3.2379405637028937E-3</c:v>
                </c:pt>
                <c:pt idx="6">
                  <c:v>5.3555300874040423E-8</c:v>
                </c:pt>
                <c:pt idx="7">
                  <c:v>6.056982090355767E-2</c:v>
                </c:pt>
                <c:pt idx="9">
                  <c:v>3.8048212073731963E-2</c:v>
                </c:pt>
                <c:pt idx="10">
                  <c:v>5.170856636114248E-8</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0.4345</c:v>
                </c:pt>
                <c:pt idx="3">
                  <c:v>0.21460000000000001</c:v>
                </c:pt>
                <c:pt idx="6">
                  <c:v>2.6700000000000002E-2</c:v>
                </c:pt>
                <c:pt idx="7">
                  <c:v>0.26690000000000003</c:v>
                </c:pt>
                <c:pt idx="10">
                  <c:v>5.6500000000000002E-2</c:v>
                </c:pt>
                <c:pt idx="12">
                  <c:v>8.0000000000000004E-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4.3734167837544734E-3</c:v>
                </c:pt>
                <c:pt idx="1">
                  <c:v>3.204776445831363E-2</c:v>
                </c:pt>
                <c:pt idx="2">
                  <c:v>8.4053595938634509E-3</c:v>
                </c:pt>
                <c:pt idx="3">
                  <c:v>9.5440009926194599E-2</c:v>
                </c:pt>
                <c:pt idx="4">
                  <c:v>2.9240642403088886E-2</c:v>
                </c:pt>
                <c:pt idx="5">
                  <c:v>0.1994191602003694</c:v>
                </c:pt>
                <c:pt idx="6">
                  <c:v>4.1250137374282493E-2</c:v>
                </c:pt>
                <c:pt idx="7">
                  <c:v>9.8233775504279225E-2</c:v>
                </c:pt>
                <c:pt idx="8">
                  <c:v>0.32526788548230701</c:v>
                </c:pt>
                <c:pt idx="9">
                  <c:v>4.6418593159612741E-2</c:v>
                </c:pt>
                <c:pt idx="10">
                  <c:v>0.1196734866057987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0.14696565929531613</c:v>
                </c:pt>
                <c:pt idx="2">
                  <c:v>2.3476306319308922E-2</c:v>
                </c:pt>
                <c:pt idx="3">
                  <c:v>3.295751999351379E-2</c:v>
                </c:pt>
                <c:pt idx="4">
                  <c:v>0.1841801727141622</c:v>
                </c:pt>
                <c:pt idx="5">
                  <c:v>0.12209728666031888</c:v>
                </c:pt>
                <c:pt idx="6">
                  <c:v>5.5769791123886107E-3</c:v>
                </c:pt>
                <c:pt idx="7">
                  <c:v>2.6064665698349303E-2</c:v>
                </c:pt>
                <c:pt idx="8">
                  <c:v>0.24034269525849561</c:v>
                </c:pt>
                <c:pt idx="9">
                  <c:v>0.20465369274072781</c:v>
                </c:pt>
                <c:pt idx="10">
                  <c:v>1.3002154197850399E-2</c:v>
                </c:pt>
                <c:pt idx="11">
                  <c:v>6.8194524330137752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50 GR</c:v>
                </c:pt>
                <c:pt idx="10">
                  <c:v>50-149 GR</c:v>
                </c:pt>
                <c:pt idx="11">
                  <c:v>0-50 GR</c:v>
                </c:pt>
                <c:pt idx="12">
                  <c:v>0-49 GR</c:v>
                </c:pt>
              </c:strCache>
            </c:strRef>
          </c:cat>
          <c:val>
            <c:numRef>
              <c:f>Sheet1!$B$2:$B$14</c:f>
              <c:numCache>
                <c:formatCode>General</c:formatCode>
                <c:ptCount val="13"/>
                <c:pt idx="1">
                  <c:v>0.13883172631490734</c:v>
                </c:pt>
                <c:pt idx="4">
                  <c:v>6.85733513406976E-2</c:v>
                </c:pt>
                <c:pt idx="5">
                  <c:v>8.5199533734594043E-3</c:v>
                </c:pt>
                <c:pt idx="8">
                  <c:v>8.5279185241007888E-2</c:v>
                </c:pt>
                <c:pt idx="9">
                  <c:v>1.8039325530002339E-2</c:v>
                </c:pt>
                <c:pt idx="11">
                  <c:v>2.4653588300363943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50 GR</c:v>
                </c:pt>
                <c:pt idx="10">
                  <c:v>50-149 GR</c:v>
                </c:pt>
                <c:pt idx="11">
                  <c:v>0-50 GR</c:v>
                </c:pt>
                <c:pt idx="12">
                  <c:v>0-49 GR</c:v>
                </c:pt>
              </c:strCache>
            </c:strRef>
          </c:cat>
          <c:val>
            <c:numRef>
              <c:f>Sheet1!$C$2:$C$14</c:f>
              <c:numCache>
                <c:formatCode>General</c:formatCode>
                <c:ptCount val="13"/>
                <c:pt idx="2">
                  <c:v>1.0467504009943729E-2</c:v>
                </c:pt>
                <c:pt idx="3">
                  <c:v>1.5609031818113373E-2</c:v>
                </c:pt>
                <c:pt idx="4">
                  <c:v>2.7036516839205084E-2</c:v>
                </c:pt>
                <c:pt idx="5">
                  <c:v>9.0446099607501371E-2</c:v>
                </c:pt>
                <c:pt idx="7">
                  <c:v>2.7920705184692296E-3</c:v>
                </c:pt>
                <c:pt idx="8">
                  <c:v>5.8561788240493193E-3</c:v>
                </c:pt>
                <c:pt idx="9">
                  <c:v>8.253358858726037E-2</c:v>
                </c:pt>
                <c:pt idx="10">
                  <c:v>1.9504971969506602E-3</c:v>
                </c:pt>
                <c:pt idx="11">
                  <c:v>4.3540936029773809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Kir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50 GR</c:v>
                </c:pt>
                <c:pt idx="10">
                  <c:v>50-149 GR</c:v>
                </c:pt>
                <c:pt idx="11">
                  <c:v>0-50 GR</c:v>
                </c:pt>
                <c:pt idx="12">
                  <c:v>0-49 GR</c:v>
                </c:pt>
              </c:strCache>
            </c:strRef>
          </c:cat>
          <c:val>
            <c:numRef>
              <c:f>Sheet1!$D$2:$D$14</c:f>
              <c:numCache>
                <c:formatCode>General</c:formatCode>
                <c:ptCount val="13"/>
                <c:pt idx="4">
                  <c:v>7.8700417513986307E-2</c:v>
                </c:pt>
                <c:pt idx="5">
                  <c:v>1.932140439824797E-2</c:v>
                </c:pt>
                <c:pt idx="8">
                  <c:v>7.1782763875395186E-2</c:v>
                </c:pt>
                <c:pt idx="9">
                  <c:v>5.28471806365719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Ficello</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50 GR</c:v>
                </c:pt>
                <c:pt idx="10">
                  <c:v>50-149 GR</c:v>
                </c:pt>
                <c:pt idx="11">
                  <c:v>0-50 GR</c:v>
                </c:pt>
                <c:pt idx="12">
                  <c:v>0-49 GR</c:v>
                </c:pt>
              </c:strCache>
            </c:strRef>
          </c:cat>
          <c:val>
            <c:numRef>
              <c:f>Sheet1!$E$2:$E$14</c:f>
              <c:numCache>
                <c:formatCode>General</c:formatCode>
                <c:ptCount val="13"/>
                <c:pt idx="5">
                  <c:v>3.0409342891010774E-7</c:v>
                </c:pt>
                <c:pt idx="8">
                  <c:v>4.4998990619535627E-2</c:v>
                </c:pt>
                <c:pt idx="9">
                  <c:v>4.196046810590521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50 GR</c:v>
                </c:pt>
                <c:pt idx="10">
                  <c:v>50-149 GR</c:v>
                </c:pt>
                <c:pt idx="11">
                  <c:v>0-50 GR</c:v>
                </c:pt>
                <c:pt idx="12">
                  <c:v>0-49 GR</c:v>
                </c:pt>
              </c:strCache>
            </c:strRef>
          </c:cat>
          <c:val>
            <c:numRef>
              <c:f>Sheet1!$F$2:$F$14</c:f>
              <c:numCache>
                <c:formatCode>General</c:formatCode>
                <c:ptCount val="13"/>
                <c:pt idx="1">
                  <c:v>8.1339329804087906E-3</c:v>
                </c:pt>
                <c:pt idx="2">
                  <c:v>1.3008802309365193E-2</c:v>
                </c:pt>
                <c:pt idx="3">
                  <c:v>1.7348488175400419E-2</c:v>
                </c:pt>
                <c:pt idx="4">
                  <c:v>9.8698870202732179E-3</c:v>
                </c:pt>
                <c:pt idx="5">
                  <c:v>5.5769791123886107E-3</c:v>
                </c:pt>
                <c:pt idx="6">
                  <c:v>3.8095251876812215E-3</c:v>
                </c:pt>
                <c:pt idx="7">
                  <c:v>2.3272595179880073E-2</c:v>
                </c:pt>
                <c:pt idx="8">
                  <c:v>3.2425576698507555E-2</c:v>
                </c:pt>
                <c:pt idx="9">
                  <c:v>1.105165700089974E-2</c:v>
                </c:pt>
                <c:pt idx="10">
                  <c:v>9.2731298809878987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0.33450000000000002</c:v>
                </c:pt>
                <c:pt idx="4">
                  <c:v>0.21790000000000001</c:v>
                </c:pt>
                <c:pt idx="6">
                  <c:v>9.3799999999999994E-2</c:v>
                </c:pt>
                <c:pt idx="7">
                  <c:v>0.33350000000000002</c:v>
                </c:pt>
                <c:pt idx="10">
                  <c:v>2.0299999999999999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9.9025390559011175E-2</c:v>
                </c:pt>
                <c:pt idx="3">
                  <c:v>0.19501182742892956</c:v>
                </c:pt>
                <c:pt idx="5">
                  <c:v>0.19221661010637114</c:v>
                </c:pt>
                <c:pt idx="7">
                  <c:v>4.4553653201097635E-3</c:v>
                </c:pt>
                <c:pt idx="8">
                  <c:v>0.32620737314256526</c:v>
                </c:pt>
                <c:pt idx="9">
                  <c:v>0.18163460063555481</c:v>
                </c:pt>
                <c:pt idx="10">
                  <c:v>1.0718808459023585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2">
                  <c:v>9.9025390559011175E-2</c:v>
                </c:pt>
                <c:pt idx="3">
                  <c:v>6.450832288352E-2</c:v>
                </c:pt>
                <c:pt idx="5">
                  <c:v>2.7784252533189901E-2</c:v>
                </c:pt>
                <c:pt idx="8">
                  <c:v>9.8743693851477465E-2</c:v>
                </c:pt>
                <c:pt idx="9">
                  <c:v>6.0214131500869192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C$2:$C$14</c:f>
              <c:numCache>
                <c:formatCode>General</c:formatCode>
                <c:ptCount val="13"/>
                <c:pt idx="3">
                  <c:v>2.8448886650238012E-2</c:v>
                </c:pt>
                <c:pt idx="5">
                  <c:v>0.13057577620431085</c:v>
                </c:pt>
                <c:pt idx="7">
                  <c:v>4.4553653201097635E-3</c:v>
                </c:pt>
                <c:pt idx="8">
                  <c:v>7.6933220278372159E-3</c:v>
                </c:pt>
                <c:pt idx="9">
                  <c:v>8.090207106212588E-2</c:v>
                </c:pt>
                <c:pt idx="10">
                  <c:v>1.0718808459023585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Kir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D$2:$D$14</c:f>
              <c:numCache>
                <c:formatCode>General</c:formatCode>
                <c:ptCount val="13"/>
                <c:pt idx="3">
                  <c:v>5.2604146335066902E-2</c:v>
                </c:pt>
                <c:pt idx="5">
                  <c:v>3.3856581368870375E-2</c:v>
                </c:pt>
                <c:pt idx="8">
                  <c:v>8.5025244020544052E-2</c:v>
                </c:pt>
                <c:pt idx="9">
                  <c:v>4.3739947302331043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E$2:$E$14</c:f>
              <c:numCache>
                <c:formatCode>General</c:formatCode>
                <c:ptCount val="13"/>
                <c:pt idx="3">
                  <c:v>4.9450471560104646E-2</c:v>
                </c:pt>
                <c:pt idx="8">
                  <c:v>7.7421598704224021E-2</c:v>
                </c:pt>
                <c:pt idx="9">
                  <c:v>1.21768688320844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F$2:$F$14</c:f>
              <c:numCache>
                <c:formatCode>General</c:formatCode>
                <c:ptCount val="13"/>
                <c:pt idx="8">
                  <c:v>5.7323514538482452E-2</c:v>
                </c:pt>
                <c:pt idx="9">
                  <c:v>3.879430028892649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3.0312546756316075E-2</c:v>
                </c:pt>
                <c:pt idx="3">
                  <c:v>4.1137278657995359E-2</c:v>
                </c:pt>
                <c:pt idx="5">
                  <c:v>0.26441736817554373</c:v>
                </c:pt>
                <c:pt idx="6">
                  <c:v>4.9131473718148973E-2</c:v>
                </c:pt>
                <c:pt idx="7">
                  <c:v>0.49270407647915671</c:v>
                </c:pt>
                <c:pt idx="8">
                  <c:v>5.9502162452361049E-2</c:v>
                </c:pt>
                <c:pt idx="9">
                  <c:v>5.8546804951692615E-2</c:v>
                </c:pt>
                <c:pt idx="10">
                  <c:v>4.2312884841799936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50 GR</c:v>
                </c:pt>
                <c:pt idx="8">
                  <c:v>150-249 GR</c:v>
                </c:pt>
                <c:pt idx="9">
                  <c:v>50-150 GR</c:v>
                </c:pt>
                <c:pt idx="10">
                  <c:v>50-149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50 GR</c:v>
                </c:pt>
                <c:pt idx="8">
                  <c:v>150-249 GR</c:v>
                </c:pt>
                <c:pt idx="9">
                  <c:v>50-150 GR</c:v>
                </c:pt>
                <c:pt idx="10">
                  <c:v>50-149 GR</c:v>
                </c:pt>
                <c:pt idx="11">
                  <c:v>0-49 GR</c:v>
                </c:pt>
                <c:pt idx="12">
                  <c:v>0-50 GR</c:v>
                </c:pt>
              </c:strCache>
            </c:strRef>
          </c:cat>
          <c:val>
            <c:numRef>
              <c:f>Sheet1!$C$2:$C$14</c:f>
              <c:numCache>
                <c:formatCode>General</c:formatCode>
                <c:ptCount val="13"/>
                <c:pt idx="2">
                  <c:v>1.3257302858749631E-2</c:v>
                </c:pt>
                <c:pt idx="3">
                  <c:v>4.1117522494445613E-2</c:v>
                </c:pt>
                <c:pt idx="5">
                  <c:v>8.3971777085328436E-2</c:v>
                </c:pt>
                <c:pt idx="7">
                  <c:v>0.14385126804842238</c:v>
                </c:pt>
                <c:pt idx="9">
                  <c:v>3.5308251402805055E-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aysan Bret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50 GR</c:v>
                </c:pt>
                <c:pt idx="8">
                  <c:v>150-249 GR</c:v>
                </c:pt>
                <c:pt idx="9">
                  <c:v>50-150 GR</c:v>
                </c:pt>
                <c:pt idx="10">
                  <c:v>50-149 GR</c:v>
                </c:pt>
                <c:pt idx="11">
                  <c:v>0-49 GR</c:v>
                </c:pt>
                <c:pt idx="12">
                  <c:v>0-50 GR</c:v>
                </c:pt>
              </c:strCache>
            </c:strRef>
          </c:cat>
          <c:val>
            <c:numRef>
              <c:f>Sheet1!$D$2:$D$14</c:f>
              <c:numCache>
                <c:formatCode>General</c:formatCode>
                <c:ptCount val="13"/>
                <c:pt idx="2">
                  <c:v>1.3674589538061579E-2</c:v>
                </c:pt>
                <c:pt idx="5">
                  <c:v>4.214852642763222E-2</c:v>
                </c:pt>
                <c:pt idx="7">
                  <c:v>7.749675245625217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50 GR</c:v>
                </c:pt>
                <c:pt idx="8">
                  <c:v>150-249 GR</c:v>
                </c:pt>
                <c:pt idx="9">
                  <c:v>50-150 GR</c:v>
                </c:pt>
                <c:pt idx="10">
                  <c:v>50-149 GR</c:v>
                </c:pt>
                <c:pt idx="11">
                  <c:v>0-49 GR</c:v>
                </c:pt>
                <c:pt idx="12">
                  <c:v>0-50 GR</c:v>
                </c:pt>
              </c:strCache>
            </c:strRef>
          </c:cat>
          <c:val>
            <c:numRef>
              <c:f>Sheet1!$E$2:$E$14</c:f>
              <c:numCache>
                <c:formatCode>General</c:formatCode>
                <c:ptCount val="13"/>
                <c:pt idx="5">
                  <c:v>2.0110324760778144E-2</c:v>
                </c:pt>
                <c:pt idx="7">
                  <c:v>6.8417187732425735E-2</c:v>
                </c:pt>
                <c:pt idx="9">
                  <c:v>1.604095453152696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50 GR</c:v>
                </c:pt>
                <c:pt idx="8">
                  <c:v>150-249 GR</c:v>
                </c:pt>
                <c:pt idx="9">
                  <c:v>50-150 GR</c:v>
                </c:pt>
                <c:pt idx="10">
                  <c:v>50-149 GR</c:v>
                </c:pt>
                <c:pt idx="11">
                  <c:v>0-49 GR</c:v>
                </c:pt>
                <c:pt idx="12">
                  <c:v>0-50 GR</c:v>
                </c:pt>
              </c:strCache>
            </c:strRef>
          </c:cat>
          <c:val>
            <c:numRef>
              <c:f>Sheet1!$F$2:$F$14</c:f>
              <c:numCache>
                <c:formatCode>General</c:formatCode>
                <c:ptCount val="13"/>
                <c:pt idx="2">
                  <c:v>3.3806543595048637E-3</c:v>
                </c:pt>
                <c:pt idx="3">
                  <c:v>1.9756163549747491E-5</c:v>
                </c:pt>
                <c:pt idx="5">
                  <c:v>0.11818673990180494</c:v>
                </c:pt>
                <c:pt idx="6">
                  <c:v>4.9131473718148973E-2</c:v>
                </c:pt>
                <c:pt idx="7">
                  <c:v>5.9502162452361049E-2</c:v>
                </c:pt>
                <c:pt idx="8">
                  <c:v>0.20293886824205642</c:v>
                </c:pt>
                <c:pt idx="9">
                  <c:v>4.2312884841799936E-3</c:v>
                </c:pt>
                <c:pt idx="10">
                  <c:v>4.250549733765161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4.0866662464118811E-2</c:v>
                </c:pt>
                <c:pt idx="3">
                  <c:v>4.5633021875691224E-2</c:v>
                </c:pt>
                <c:pt idx="5">
                  <c:v>0.22192560355519467</c:v>
                </c:pt>
                <c:pt idx="6">
                  <c:v>3.8701355527194066E-2</c:v>
                </c:pt>
                <c:pt idx="7">
                  <c:v>4.9817374574832686E-2</c:v>
                </c:pt>
                <c:pt idx="8">
                  <c:v>0.54405836650955963</c:v>
                </c:pt>
                <c:pt idx="9">
                  <c:v>5.870398517248189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50 GR</c:v>
                </c:pt>
                <c:pt idx="6">
                  <c:v>250-349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3">
                  <c:v>9.9448764407935319E-3</c:v>
                </c:pt>
                <c:pt idx="5">
                  <c:v>2.4415242697922519E-3</c:v>
                </c:pt>
                <c:pt idx="8">
                  <c:v>1.0215575661117129E-2</c:v>
                </c:pt>
                <c:pt idx="10">
                  <c:v>7.6308164244705398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50 GR</c:v>
                </c:pt>
                <c:pt idx="6">
                  <c:v>250-349 GR</c:v>
                </c:pt>
                <c:pt idx="7">
                  <c:v>150-249 GR</c:v>
                </c:pt>
                <c:pt idx="8">
                  <c:v>150-250 GR</c:v>
                </c:pt>
                <c:pt idx="9">
                  <c:v>50-149 GR</c:v>
                </c:pt>
                <c:pt idx="10">
                  <c:v>50-150 GR</c:v>
                </c:pt>
                <c:pt idx="11">
                  <c:v>0-49 GR</c:v>
                </c:pt>
                <c:pt idx="12">
                  <c:v>0-50 GR</c:v>
                </c:pt>
              </c:strCache>
            </c:strRef>
          </c:cat>
          <c:val>
            <c:numRef>
              <c:f>Sheet1!$C$2:$C$14</c:f>
              <c:numCache>
                <c:formatCode>General</c:formatCode>
                <c:ptCount val="13"/>
                <c:pt idx="0">
                  <c:v>3.340444332363107E-6</c:v>
                </c:pt>
                <c:pt idx="1">
                  <c:v>4.4328080554185681E-3</c:v>
                </c:pt>
                <c:pt idx="2">
                  <c:v>7.082609890614427E-3</c:v>
                </c:pt>
                <c:pt idx="3">
                  <c:v>1.7375072748411328E-2</c:v>
                </c:pt>
                <c:pt idx="4">
                  <c:v>2.7267964932145252E-2</c:v>
                </c:pt>
                <c:pt idx="5">
                  <c:v>2.7520520279306199E-2</c:v>
                </c:pt>
                <c:pt idx="6">
                  <c:v>4.057716173323718E-2</c:v>
                </c:pt>
                <c:pt idx="7">
                  <c:v>9.6139414961390376E-2</c:v>
                </c:pt>
                <c:pt idx="8">
                  <c:v>5.8361703259306383E-2</c:v>
                </c:pt>
                <c:pt idx="9">
                  <c:v>4.4998575706619255E-2</c:v>
                </c:pt>
                <c:pt idx="10">
                  <c:v>2.515623434373758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50 GR</c:v>
                </c:pt>
                <c:pt idx="6">
                  <c:v>250-349 GR</c:v>
                </c:pt>
                <c:pt idx="7">
                  <c:v>150-249 GR</c:v>
                </c:pt>
                <c:pt idx="8">
                  <c:v>150-250 GR</c:v>
                </c:pt>
                <c:pt idx="9">
                  <c:v>50-149 GR</c:v>
                </c:pt>
                <c:pt idx="10">
                  <c:v>50-150 GR</c:v>
                </c:pt>
                <c:pt idx="11">
                  <c:v>0-49 GR</c:v>
                </c:pt>
                <c:pt idx="12">
                  <c:v>0-50 GR</c:v>
                </c:pt>
              </c:strCache>
            </c:strRef>
          </c:cat>
          <c:val>
            <c:numRef>
              <c:f>Sheet1!$D$2:$D$14</c:f>
              <c:numCache>
                <c:formatCode>General</c:formatCode>
                <c:ptCount val="13"/>
                <c:pt idx="0">
                  <c:v>4.6893425197275038E-6</c:v>
                </c:pt>
                <c:pt idx="1">
                  <c:v>7.1870567468216954E-6</c:v>
                </c:pt>
                <c:pt idx="3">
                  <c:v>5.8300201187237114E-3</c:v>
                </c:pt>
                <c:pt idx="5">
                  <c:v>9.365979160556542E-3</c:v>
                </c:pt>
                <c:pt idx="8">
                  <c:v>2.8995553697662518E-2</c:v>
                </c:pt>
                <c:pt idx="10">
                  <c:v>1.3883103953064068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50 GR</c:v>
                </c:pt>
                <c:pt idx="6">
                  <c:v>250-349 GR</c:v>
                </c:pt>
                <c:pt idx="7">
                  <c:v>150-249 GR</c:v>
                </c:pt>
                <c:pt idx="8">
                  <c:v>150-250 GR</c:v>
                </c:pt>
                <c:pt idx="9">
                  <c:v>50-149 GR</c:v>
                </c:pt>
                <c:pt idx="10">
                  <c:v>50-150 GR</c:v>
                </c:pt>
                <c:pt idx="11">
                  <c:v>0-49 GR</c:v>
                </c:pt>
                <c:pt idx="12">
                  <c:v>0-50 GR</c:v>
                </c:pt>
              </c:strCache>
            </c:strRef>
          </c:cat>
          <c:val>
            <c:numRef>
              <c:f>Sheet1!$E$2:$E$14</c:f>
              <c:numCache>
                <c:formatCode>General</c:formatCode>
                <c:ptCount val="13"/>
                <c:pt idx="1">
                  <c:v>2.2930487407266894E-3</c:v>
                </c:pt>
                <c:pt idx="3">
                  <c:v>6.7667782330022063E-3</c:v>
                </c:pt>
                <c:pt idx="5">
                  <c:v>6.7024789860080569E-3</c:v>
                </c:pt>
                <c:pt idx="8">
                  <c:v>2.525681206172568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50 GR</c:v>
                </c:pt>
                <c:pt idx="6">
                  <c:v>250-349 GR</c:v>
                </c:pt>
                <c:pt idx="7">
                  <c:v>150-249 GR</c:v>
                </c:pt>
                <c:pt idx="8">
                  <c:v>150-250 GR</c:v>
                </c:pt>
                <c:pt idx="9">
                  <c:v>50-149 GR</c:v>
                </c:pt>
                <c:pt idx="10">
                  <c:v>50-150 GR</c:v>
                </c:pt>
                <c:pt idx="11">
                  <c:v>0-49 GR</c:v>
                </c:pt>
                <c:pt idx="12">
                  <c:v>0-50 GR</c:v>
                </c:pt>
              </c:strCache>
            </c:strRef>
          </c:cat>
          <c:val>
            <c:numRef>
              <c:f>Sheet1!$F$2:$F$14</c:f>
              <c:numCache>
                <c:formatCode>General</c:formatCode>
                <c:ptCount val="13"/>
                <c:pt idx="0">
                  <c:v>4.3653869969023842E-3</c:v>
                </c:pt>
                <c:pt idx="1">
                  <c:v>2.604116853168404E-3</c:v>
                </c:pt>
                <c:pt idx="2">
                  <c:v>2.4033353455502171E-2</c:v>
                </c:pt>
                <c:pt idx="3">
                  <c:v>5.5523262385263818E-2</c:v>
                </c:pt>
                <c:pt idx="4">
                  <c:v>1.9726774709436334E-3</c:v>
                </c:pt>
                <c:pt idx="5">
                  <c:v>3.0762187633009908E-2</c:v>
                </c:pt>
                <c:pt idx="6">
                  <c:v>0.12329944551274177</c:v>
                </c:pt>
                <c:pt idx="7">
                  <c:v>0.16890807036245159</c:v>
                </c:pt>
                <c:pt idx="8">
                  <c:v>3.562453098293257E-2</c:v>
                </c:pt>
                <c:pt idx="9">
                  <c:v>1.4200174529934821E-3</c:v>
                </c:pt>
                <c:pt idx="10">
                  <c:v>8.549812544228423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C$2:$C$14</c:f>
              <c:numCache>
                <c:formatCode>General</c:formatCode>
                <c:ptCount val="13"/>
                <c:pt idx="2">
                  <c:v>1.5462823601955515E-2</c:v>
                </c:pt>
                <c:pt idx="3">
                  <c:v>4.5630734450636229E-2</c:v>
                </c:pt>
                <c:pt idx="5">
                  <c:v>4.5197142309156488E-2</c:v>
                </c:pt>
                <c:pt idx="8">
                  <c:v>0.1703154506582534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aysan Bret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D$2:$D$14</c:f>
              <c:numCache>
                <c:formatCode>General</c:formatCode>
                <c:ptCount val="13"/>
                <c:pt idx="2">
                  <c:v>1.6435649394388581E-2</c:v>
                </c:pt>
                <c:pt idx="5">
                  <c:v>3.6146301740761742E-2</c:v>
                </c:pt>
                <c:pt idx="8">
                  <c:v>9.11722235831110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E$2:$E$14</c:f>
              <c:numCache>
                <c:formatCode>General</c:formatCode>
                <c:ptCount val="13"/>
                <c:pt idx="5">
                  <c:v>2.0414795047385217E-2</c:v>
                </c:pt>
                <c:pt idx="8">
                  <c:v>7.3401727640319561E-2</c:v>
                </c:pt>
                <c:pt idx="9">
                  <c:v>1.527106411326292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F$2:$F$14</c:f>
              <c:numCache>
                <c:formatCode>General</c:formatCode>
                <c:ptCount val="13"/>
                <c:pt idx="2">
                  <c:v>8.9681894677747162E-3</c:v>
                </c:pt>
                <c:pt idx="3">
                  <c:v>2.2874250549976061E-6</c:v>
                </c:pt>
                <c:pt idx="5">
                  <c:v>0.12016736445789121</c:v>
                </c:pt>
                <c:pt idx="6">
                  <c:v>3.8701355527194066E-2</c:v>
                </c:pt>
                <c:pt idx="7">
                  <c:v>4.9817374574832686E-2</c:v>
                </c:pt>
                <c:pt idx="8">
                  <c:v>0.20916896462787549</c:v>
                </c:pt>
                <c:pt idx="9">
                  <c:v>2.8347093699140257E-4</c:v>
                </c:pt>
                <c:pt idx="10">
                  <c:v>4.343292105921897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1.4730354873988525E-2</c:v>
                </c:pt>
                <c:pt idx="3">
                  <c:v>6.8172638867039656E-2</c:v>
                </c:pt>
                <c:pt idx="5">
                  <c:v>0.30914313265850801</c:v>
                </c:pt>
                <c:pt idx="8">
                  <c:v>0.54860475711832579</c:v>
                </c:pt>
                <c:pt idx="9">
                  <c:v>5.871901674128954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C$2:$C$14</c:f>
              <c:numCache>
                <c:formatCode>General</c:formatCode>
                <c:ptCount val="13"/>
                <c:pt idx="2">
                  <c:v>5.7279737499277604E-3</c:v>
                </c:pt>
                <c:pt idx="3">
                  <c:v>6.8172638867039656E-2</c:v>
                </c:pt>
                <c:pt idx="5">
                  <c:v>9.3501410730676054E-2</c:v>
                </c:pt>
                <c:pt idx="8">
                  <c:v>0.1510088105452856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D$2:$D$14</c:f>
              <c:numCache>
                <c:formatCode>General</c:formatCode>
                <c:ptCount val="13"/>
                <c:pt idx="5">
                  <c:v>5.2607981753840551E-2</c:v>
                </c:pt>
                <c:pt idx="8">
                  <c:v>9.6429656875496123E-2</c:v>
                </c:pt>
                <c:pt idx="9">
                  <c:v>3.375550864972082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E$2:$E$14</c:f>
              <c:numCache>
                <c:formatCode>General</c:formatCode>
                <c:ptCount val="13"/>
                <c:pt idx="5">
                  <c:v>3.6411951396942636E-2</c:v>
                </c:pt>
                <c:pt idx="8">
                  <c:v>8.6254632221901786E-2</c:v>
                </c:pt>
                <c:pt idx="9">
                  <c:v>2.476004233039275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F$2:$F$14</c:f>
              <c:numCache>
                <c:formatCode>General</c:formatCode>
                <c:ptCount val="13"/>
                <c:pt idx="2">
                  <c:v>9.0023811240607637E-3</c:v>
                </c:pt>
                <c:pt idx="5">
                  <c:v>1.8313181483870577E-5</c:v>
                </c:pt>
                <c:pt idx="6">
                  <c:v>0.1266217887770488</c:v>
                </c:pt>
                <c:pt idx="7">
                  <c:v>3.4244596893143501E-4</c:v>
                </c:pt>
                <c:pt idx="8">
                  <c:v>0.21491165747564223</c:v>
                </c:pt>
                <c:pt idx="9">
                  <c:v>1.6214532985086785E-4</c:v>
                </c:pt>
                <c:pt idx="10">
                  <c:v>3.058342354592470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3.0514884509204492E-3</c:v>
                </c:pt>
                <c:pt idx="1">
                  <c:v>3.4694502563154175E-3</c:v>
                </c:pt>
                <c:pt idx="2">
                  <c:v>4.4352743456934855E-3</c:v>
                </c:pt>
                <c:pt idx="3">
                  <c:v>5.9649644512206321E-2</c:v>
                </c:pt>
                <c:pt idx="4">
                  <c:v>3.9085132320912236E-2</c:v>
                </c:pt>
                <c:pt idx="5">
                  <c:v>2.7360055985208086E-2</c:v>
                </c:pt>
                <c:pt idx="6">
                  <c:v>8.6695116521100249E-2</c:v>
                </c:pt>
                <c:pt idx="7">
                  <c:v>0.24180534467699411</c:v>
                </c:pt>
                <c:pt idx="8">
                  <c:v>0.14148704324444239</c:v>
                </c:pt>
                <c:pt idx="9">
                  <c:v>0.24435861527080921</c:v>
                </c:pt>
                <c:pt idx="10">
                  <c:v>0.1486028344153980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49 GR</c:v>
                </c:pt>
                <c:pt idx="6">
                  <c:v>250-350 GR</c:v>
                </c:pt>
                <c:pt idx="7">
                  <c:v>150-250 GR</c:v>
                </c:pt>
                <c:pt idx="8">
                  <c:v>150-249 GR</c:v>
                </c:pt>
                <c:pt idx="9">
                  <c:v>50-150 GR</c:v>
                </c:pt>
                <c:pt idx="10">
                  <c:v>50-149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49 GR</c:v>
                </c:pt>
                <c:pt idx="6">
                  <c:v>250-350 GR</c:v>
                </c:pt>
                <c:pt idx="7">
                  <c:v>150-250 GR</c:v>
                </c:pt>
                <c:pt idx="8">
                  <c:v>150-249 GR</c:v>
                </c:pt>
                <c:pt idx="9">
                  <c:v>50-150 GR</c:v>
                </c:pt>
                <c:pt idx="10">
                  <c:v>50-149 GR</c:v>
                </c:pt>
                <c:pt idx="11">
                  <c:v>0-49 GR</c:v>
                </c:pt>
                <c:pt idx="12">
                  <c:v>0-50 GR</c:v>
                </c:pt>
              </c:strCache>
            </c:strRef>
          </c:cat>
          <c:val>
            <c:numRef>
              <c:f>Sheet1!$C$2:$C$14</c:f>
              <c:numCache>
                <c:formatCode>General</c:formatCode>
                <c:ptCount val="13"/>
                <c:pt idx="0">
                  <c:v>1.1504943725024013E-3</c:v>
                </c:pt>
                <c:pt idx="1">
                  <c:v>1.5275277247393483E-3</c:v>
                </c:pt>
                <c:pt idx="2">
                  <c:v>4.4348967856449812E-3</c:v>
                </c:pt>
                <c:pt idx="3">
                  <c:v>2.7841883960607855E-2</c:v>
                </c:pt>
                <c:pt idx="4">
                  <c:v>3.8958985733106355E-2</c:v>
                </c:pt>
                <c:pt idx="5">
                  <c:v>2.6096436127072613E-2</c:v>
                </c:pt>
                <c:pt idx="6">
                  <c:v>1.9254409027786971E-2</c:v>
                </c:pt>
                <c:pt idx="7">
                  <c:v>0.10077068821926924</c:v>
                </c:pt>
                <c:pt idx="8">
                  <c:v>0.13908626726641804</c:v>
                </c:pt>
                <c:pt idx="9">
                  <c:v>0.10628132531951306</c:v>
                </c:pt>
                <c:pt idx="10">
                  <c:v>0.146326370083343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49 GR</c:v>
                </c:pt>
                <c:pt idx="6">
                  <c:v>250-350 GR</c:v>
                </c:pt>
                <c:pt idx="7">
                  <c:v>150-250 GR</c:v>
                </c:pt>
                <c:pt idx="8">
                  <c:v>150-249 GR</c:v>
                </c:pt>
                <c:pt idx="9">
                  <c:v>50-150 GR</c:v>
                </c:pt>
                <c:pt idx="10">
                  <c:v>50-149 GR</c:v>
                </c:pt>
                <c:pt idx="11">
                  <c:v>0-49 GR</c:v>
                </c:pt>
                <c:pt idx="12">
                  <c:v>0-50 GR</c:v>
                </c:pt>
              </c:strCache>
            </c:strRef>
          </c:cat>
          <c:val>
            <c:numRef>
              <c:f>Sheet1!$D$2:$D$14</c:f>
              <c:numCache>
                <c:formatCode>General</c:formatCode>
                <c:ptCount val="13"/>
                <c:pt idx="3">
                  <c:v>2.4466179976535888E-2</c:v>
                </c:pt>
                <c:pt idx="4">
                  <c:v>5.8521807518214687E-7</c:v>
                </c:pt>
                <c:pt idx="5">
                  <c:v>5.9088147590971599E-7</c:v>
                </c:pt>
                <c:pt idx="6">
                  <c:v>1.6542557550199209E-2</c:v>
                </c:pt>
                <c:pt idx="7">
                  <c:v>3.3026496071167713E-2</c:v>
                </c:pt>
                <c:pt idx="8">
                  <c:v>3.3936984959836946E-5</c:v>
                </c:pt>
                <c:pt idx="9">
                  <c:v>4.5674532103943198E-2</c:v>
                </c:pt>
                <c:pt idx="10">
                  <c:v>1.0979927599575926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49 GR</c:v>
                </c:pt>
                <c:pt idx="6">
                  <c:v>250-350 GR</c:v>
                </c:pt>
                <c:pt idx="7">
                  <c:v>150-250 GR</c:v>
                </c:pt>
                <c:pt idx="8">
                  <c:v>150-249 GR</c:v>
                </c:pt>
                <c:pt idx="9">
                  <c:v>50-150 GR</c:v>
                </c:pt>
                <c:pt idx="10">
                  <c:v>50-149 GR</c:v>
                </c:pt>
                <c:pt idx="11">
                  <c:v>0-49 GR</c:v>
                </c:pt>
                <c:pt idx="12">
                  <c:v>0-50 GR</c:v>
                </c:pt>
              </c:strCache>
            </c:strRef>
          </c:cat>
          <c:val>
            <c:numRef>
              <c:f>Sheet1!$E$2:$E$14</c:f>
              <c:numCache>
                <c:formatCode>General</c:formatCode>
                <c:ptCount val="13"/>
                <c:pt idx="1">
                  <c:v>1.0373462332664182E-6</c:v>
                </c:pt>
                <c:pt idx="3">
                  <c:v>3.0774919553610828E-5</c:v>
                </c:pt>
                <c:pt idx="6">
                  <c:v>2.0286296686652133E-2</c:v>
                </c:pt>
                <c:pt idx="7">
                  <c:v>4.37561532730917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49 GR</c:v>
                </c:pt>
                <c:pt idx="6">
                  <c:v>250-350 GR</c:v>
                </c:pt>
                <c:pt idx="7">
                  <c:v>150-250 GR</c:v>
                </c:pt>
                <c:pt idx="8">
                  <c:v>150-249 GR</c:v>
                </c:pt>
                <c:pt idx="9">
                  <c:v>50-150 GR</c:v>
                </c:pt>
                <c:pt idx="10">
                  <c:v>50-149 GR</c:v>
                </c:pt>
                <c:pt idx="11">
                  <c:v>0-49 GR</c:v>
                </c:pt>
                <c:pt idx="12">
                  <c:v>0-50 GR</c:v>
                </c:pt>
              </c:strCache>
            </c:strRef>
          </c:cat>
          <c:val>
            <c:numRef>
              <c:f>Sheet1!$F$2:$F$14</c:f>
              <c:numCache>
                <c:formatCode>General</c:formatCode>
                <c:ptCount val="13"/>
                <c:pt idx="0">
                  <c:v>1.9009940784180477E-3</c:v>
                </c:pt>
                <c:pt idx="1">
                  <c:v>3.7756004850461084E-7</c:v>
                </c:pt>
                <c:pt idx="2">
                  <c:v>1.9408851853428026E-3</c:v>
                </c:pt>
                <c:pt idx="3">
                  <c:v>7.3108056555089666E-3</c:v>
                </c:pt>
                <c:pt idx="4">
                  <c:v>1.2556136973069338E-4</c:v>
                </c:pt>
                <c:pt idx="5">
                  <c:v>1.2630289766595644E-3</c:v>
                </c:pt>
                <c:pt idx="6">
                  <c:v>3.0611853256461929E-2</c:v>
                </c:pt>
                <c:pt idx="7">
                  <c:v>6.4252007113465404E-2</c:v>
                </c:pt>
                <c:pt idx="8">
                  <c:v>2.3668389930644918E-3</c:v>
                </c:pt>
                <c:pt idx="9">
                  <c:v>1.1784715720965931E-3</c:v>
                </c:pt>
                <c:pt idx="10">
                  <c:v>9.240275784735292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4.3623544200504039E-3</c:v>
                </c:pt>
                <c:pt idx="1">
                  <c:v>7.4220041840183384E-4</c:v>
                </c:pt>
                <c:pt idx="2">
                  <c:v>1.1454750131276404E-3</c:v>
                </c:pt>
                <c:pt idx="3">
                  <c:v>3.9345803659033951E-2</c:v>
                </c:pt>
                <c:pt idx="4">
                  <c:v>5.2895285528101438E-2</c:v>
                </c:pt>
                <c:pt idx="5">
                  <c:v>9.1889564298411372E-2</c:v>
                </c:pt>
                <c:pt idx="6">
                  <c:v>2.2778357111808513E-2</c:v>
                </c:pt>
                <c:pt idx="7">
                  <c:v>0.19375608835055957</c:v>
                </c:pt>
                <c:pt idx="8">
                  <c:v>0.24876664768393597</c:v>
                </c:pt>
                <c:pt idx="9">
                  <c:v>0.13008962121002385</c:v>
                </c:pt>
                <c:pt idx="10">
                  <c:v>0.2142286023065454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50 GR</c:v>
                </c:pt>
                <c:pt idx="6">
                  <c:v>250-349 GR</c:v>
                </c:pt>
                <c:pt idx="7">
                  <c:v>150-249 GR</c:v>
                </c:pt>
                <c:pt idx="8">
                  <c:v>150-250 GR</c:v>
                </c:pt>
                <c:pt idx="9">
                  <c:v>50-149 GR</c:v>
                </c:pt>
                <c:pt idx="10">
                  <c:v>50-150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50 GR</c:v>
                </c:pt>
                <c:pt idx="6">
                  <c:v>250-349 GR</c:v>
                </c:pt>
                <c:pt idx="7">
                  <c:v>150-249 GR</c:v>
                </c:pt>
                <c:pt idx="8">
                  <c:v>150-250 GR</c:v>
                </c:pt>
                <c:pt idx="9">
                  <c:v>50-149 GR</c:v>
                </c:pt>
                <c:pt idx="10">
                  <c:v>50-150 GR</c:v>
                </c:pt>
                <c:pt idx="11">
                  <c:v>0-49 GR</c:v>
                </c:pt>
                <c:pt idx="12">
                  <c:v>0-50 GR</c:v>
                </c:pt>
              </c:strCache>
            </c:strRef>
          </c:cat>
          <c:val>
            <c:numRef>
              <c:f>Sheet1!$C$2:$C$14</c:f>
              <c:numCache>
                <c:formatCode>General</c:formatCode>
                <c:ptCount val="13"/>
                <c:pt idx="1">
                  <c:v>7.4220041840183384E-4</c:v>
                </c:pt>
                <c:pt idx="3">
                  <c:v>3.9345385606274166E-2</c:v>
                </c:pt>
                <c:pt idx="4">
                  <c:v>2.2650406839017069E-2</c:v>
                </c:pt>
                <c:pt idx="5">
                  <c:v>1.1885004805986784E-2</c:v>
                </c:pt>
                <c:pt idx="6">
                  <c:v>2.0963083192614161E-2</c:v>
                </c:pt>
                <c:pt idx="7">
                  <c:v>0.18951002575696213</c:v>
                </c:pt>
                <c:pt idx="8">
                  <c:v>0.10376200139330714</c:v>
                </c:pt>
                <c:pt idx="9">
                  <c:v>0.12598186614634149</c:v>
                </c:pt>
                <c:pt idx="10">
                  <c:v>6.709071639328995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alak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50 GR</c:v>
                </c:pt>
                <c:pt idx="6">
                  <c:v>250-349 GR</c:v>
                </c:pt>
                <c:pt idx="7">
                  <c:v>150-249 GR</c:v>
                </c:pt>
                <c:pt idx="8">
                  <c:v>150-250 GR</c:v>
                </c:pt>
                <c:pt idx="9">
                  <c:v>50-149 GR</c:v>
                </c:pt>
                <c:pt idx="10">
                  <c:v>50-150 GR</c:v>
                </c:pt>
                <c:pt idx="11">
                  <c:v>0-49 GR</c:v>
                </c:pt>
                <c:pt idx="12">
                  <c:v>0-50 GR</c:v>
                </c:pt>
              </c:strCache>
            </c:strRef>
          </c:cat>
          <c:val>
            <c:numRef>
              <c:f>Sheet1!$D$2:$D$14</c:f>
              <c:numCache>
                <c:formatCode>General</c:formatCode>
                <c:ptCount val="13"/>
                <c:pt idx="2">
                  <c:v>2.8323074475378015E-6</c:v>
                </c:pt>
                <c:pt idx="5">
                  <c:v>2.1861107551566051E-2</c:v>
                </c:pt>
                <c:pt idx="8">
                  <c:v>4.574105981370335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alban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50 GR</c:v>
                </c:pt>
                <c:pt idx="6">
                  <c:v>250-349 GR</c:v>
                </c:pt>
                <c:pt idx="7">
                  <c:v>150-249 GR</c:v>
                </c:pt>
                <c:pt idx="8">
                  <c:v>150-250 GR</c:v>
                </c:pt>
                <c:pt idx="9">
                  <c:v>50-149 GR</c:v>
                </c:pt>
                <c:pt idx="10">
                  <c:v>50-150 GR</c:v>
                </c:pt>
                <c:pt idx="11">
                  <c:v>0-49 GR</c:v>
                </c:pt>
                <c:pt idx="12">
                  <c:v>0-50 GR</c:v>
                </c:pt>
              </c:strCache>
            </c:strRef>
          </c:cat>
          <c:val>
            <c:numRef>
              <c:f>Sheet1!$E$2:$E$14</c:f>
              <c:numCache>
                <c:formatCode>General</c:formatCode>
                <c:ptCount val="13"/>
                <c:pt idx="4">
                  <c:v>2.191222495276866E-2</c:v>
                </c:pt>
                <c:pt idx="5">
                  <c:v>1.3676815514038248E-2</c:v>
                </c:pt>
                <c:pt idx="7">
                  <c:v>9.4061870951439902E-7</c:v>
                </c:pt>
                <c:pt idx="8">
                  <c:v>2.188679166799529E-2</c:v>
                </c:pt>
                <c:pt idx="9">
                  <c:v>1.601136844313902E-3</c:v>
                </c:pt>
                <c:pt idx="10">
                  <c:v>4.337878998662889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50 GR</c:v>
                </c:pt>
                <c:pt idx="6">
                  <c:v>250-349 GR</c:v>
                </c:pt>
                <c:pt idx="7">
                  <c:v>150-249 GR</c:v>
                </c:pt>
                <c:pt idx="8">
                  <c:v>150-250 GR</c:v>
                </c:pt>
                <c:pt idx="9">
                  <c:v>50-149 GR</c:v>
                </c:pt>
                <c:pt idx="10">
                  <c:v>50-150 GR</c:v>
                </c:pt>
                <c:pt idx="11">
                  <c:v>0-49 GR</c:v>
                </c:pt>
                <c:pt idx="12">
                  <c:v>0-50 GR</c:v>
                </c:pt>
              </c:strCache>
            </c:strRef>
          </c:cat>
          <c:val>
            <c:numRef>
              <c:f>Sheet1!$F$2:$F$14</c:f>
              <c:numCache>
                <c:formatCode>General</c:formatCode>
                <c:ptCount val="13"/>
                <c:pt idx="2">
                  <c:v>1.1426427056801026E-3</c:v>
                </c:pt>
                <c:pt idx="3">
                  <c:v>3.7515479840487371E-3</c:v>
                </c:pt>
                <c:pt idx="5">
                  <c:v>4.4466636426820291E-2</c:v>
                </c:pt>
                <c:pt idx="7">
                  <c:v>4.2451219748879257E-3</c:v>
                </c:pt>
                <c:pt idx="8">
                  <c:v>7.7376794808930185E-2</c:v>
                </c:pt>
                <c:pt idx="9">
                  <c:v>2.5066182193684409E-3</c:v>
                </c:pt>
                <c:pt idx="10">
                  <c:v>0.1037590959266266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3">
                  <c:v>0.23300000000000001</c:v>
                </c:pt>
                <c:pt idx="6">
                  <c:v>0.15</c:v>
                </c:pt>
                <c:pt idx="8">
                  <c:v>0.39340000000000003</c:v>
                </c:pt>
                <c:pt idx="9">
                  <c:v>0.2235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0588329459832054E-3</c:v>
                </c:pt>
                <c:pt idx="1">
                  <c:v>7.8251402036527088E-4</c:v>
                </c:pt>
                <c:pt idx="4">
                  <c:v>8.9010434283185988E-2</c:v>
                </c:pt>
                <c:pt idx="6">
                  <c:v>0.11588715556988459</c:v>
                </c:pt>
                <c:pt idx="7">
                  <c:v>0.38683540238311287</c:v>
                </c:pt>
                <c:pt idx="8">
                  <c:v>8.171563093686076E-3</c:v>
                </c:pt>
                <c:pt idx="9">
                  <c:v>3.1710661268696699E-3</c:v>
                </c:pt>
                <c:pt idx="10">
                  <c:v>0.3944030874675362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49 GR</c:v>
                </c:pt>
                <c:pt idx="10">
                  <c:v>50-150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49 GR</c:v>
                </c:pt>
                <c:pt idx="10">
                  <c:v>50-150 GR</c:v>
                </c:pt>
                <c:pt idx="11">
                  <c:v>0-49 GR</c:v>
                </c:pt>
                <c:pt idx="12">
                  <c:v>0-50 GR</c:v>
                </c:pt>
              </c:strCache>
            </c:strRef>
          </c:cat>
          <c:val>
            <c:numRef>
              <c:f>Sheet1!$C$2:$C$14</c:f>
              <c:numCache>
                <c:formatCode>General</c:formatCode>
                <c:ptCount val="13"/>
                <c:pt idx="4">
                  <c:v>4.3647638855391468E-2</c:v>
                </c:pt>
                <c:pt idx="6">
                  <c:v>4.6009955935826144E-2</c:v>
                </c:pt>
                <c:pt idx="7">
                  <c:v>0.22755458516457575</c:v>
                </c:pt>
                <c:pt idx="10">
                  <c:v>0.2547115919890301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49 GR</c:v>
                </c:pt>
                <c:pt idx="10">
                  <c:v>50-150 GR</c:v>
                </c:pt>
                <c:pt idx="11">
                  <c:v>0-49 GR</c:v>
                </c:pt>
                <c:pt idx="12">
                  <c:v>0-50 GR</c:v>
                </c:pt>
              </c:strCache>
            </c:strRef>
          </c:cat>
          <c:val>
            <c:numRef>
              <c:f>Sheet1!$D$2:$D$14</c:f>
              <c:numCache>
                <c:formatCode>General</c:formatCode>
                <c:ptCount val="13"/>
                <c:pt idx="4">
                  <c:v>3.7097002897101106E-2</c:v>
                </c:pt>
                <c:pt idx="6">
                  <c:v>2.5489995312311532E-2</c:v>
                </c:pt>
                <c:pt idx="7">
                  <c:v>6.2801569934585189E-2</c:v>
                </c:pt>
                <c:pt idx="9">
                  <c:v>1.9574620025639301E-3</c:v>
                </c:pt>
                <c:pt idx="10">
                  <c:v>6.295599902315456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49 GR</c:v>
                </c:pt>
                <c:pt idx="10">
                  <c:v>50-150 GR</c:v>
                </c:pt>
                <c:pt idx="11">
                  <c:v>0-49 GR</c:v>
                </c:pt>
                <c:pt idx="12">
                  <c:v>0-50 GR</c:v>
                </c:pt>
              </c:strCache>
            </c:strRef>
          </c:cat>
          <c:val>
            <c:numRef>
              <c:f>Sheet1!$E$2:$E$14</c:f>
              <c:numCache>
                <c:formatCode>General</c:formatCode>
                <c:ptCount val="13"/>
                <c:pt idx="6">
                  <c:v>3.0231530335985812E-2</c:v>
                </c:pt>
                <c:pt idx="7">
                  <c:v>5.481055692562049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49 GR</c:v>
                </c:pt>
                <c:pt idx="10">
                  <c:v>50-150 GR</c:v>
                </c:pt>
                <c:pt idx="11">
                  <c:v>0-49 GR</c:v>
                </c:pt>
                <c:pt idx="12">
                  <c:v>0-50 GR</c:v>
                </c:pt>
              </c:strCache>
            </c:strRef>
          </c:cat>
          <c:val>
            <c:numRef>
              <c:f>Sheet1!$F$2:$F$14</c:f>
              <c:numCache>
                <c:formatCode>General</c:formatCode>
                <c:ptCount val="13"/>
                <c:pt idx="0">
                  <c:v>1.0588329459832054E-3</c:v>
                </c:pt>
                <c:pt idx="1">
                  <c:v>7.8251402036527088E-4</c:v>
                </c:pt>
                <c:pt idx="3">
                  <c:v>4.65290934262347E-4</c:v>
                </c:pt>
                <c:pt idx="4">
                  <c:v>8.2657925306934121E-3</c:v>
                </c:pt>
                <c:pt idx="5">
                  <c:v>2.1465317511378169E-4</c:v>
                </c:pt>
                <c:pt idx="6">
                  <c:v>1.4155673985761102E-2</c:v>
                </c:pt>
                <c:pt idx="7">
                  <c:v>8.171563093686076E-3</c:v>
                </c:pt>
                <c:pt idx="8">
                  <c:v>4.1668690358331442E-2</c:v>
                </c:pt>
                <c:pt idx="9">
                  <c:v>1.21360412430574E-3</c:v>
                </c:pt>
                <c:pt idx="10">
                  <c:v>7.673549645535149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5157577861394508E-2</c:v>
                </c:pt>
                <c:pt idx="1">
                  <c:v>4.0338290807629851E-2</c:v>
                </c:pt>
                <c:pt idx="2">
                  <c:v>2.7317055035750843E-2</c:v>
                </c:pt>
                <c:pt idx="3">
                  <c:v>4.5773405333712824E-2</c:v>
                </c:pt>
                <c:pt idx="4">
                  <c:v>0.16969832877932148</c:v>
                </c:pt>
                <c:pt idx="5">
                  <c:v>0.39888044764011138</c:v>
                </c:pt>
                <c:pt idx="6">
                  <c:v>8.5453563995645465E-2</c:v>
                </c:pt>
                <c:pt idx="7">
                  <c:v>0.16633249927719454</c:v>
                </c:pt>
                <c:pt idx="8">
                  <c:v>4.0550623547376534E-2</c:v>
                </c:pt>
                <c:pt idx="9">
                  <c:v>9.7361119113524835E-3</c:v>
                </c:pt>
                <c:pt idx="10">
                  <c:v>7.6209581051008446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50 GR</c:v>
                </c:pt>
                <c:pt idx="10">
                  <c:v>50-149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aprice Des Dieux</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50 GR</c:v>
                </c:pt>
                <c:pt idx="10">
                  <c:v>50-149 GR</c:v>
                </c:pt>
                <c:pt idx="11">
                  <c:v>0-49 GR</c:v>
                </c:pt>
                <c:pt idx="12">
                  <c:v>0-50 GR</c:v>
                </c:pt>
              </c:strCache>
            </c:strRef>
          </c:cat>
          <c:val>
            <c:numRef>
              <c:f>Sheet1!$C$2:$C$14</c:f>
              <c:numCache>
                <c:formatCode>General</c:formatCode>
                <c:ptCount val="13"/>
                <c:pt idx="5">
                  <c:v>8.4662929189084316E-2</c:v>
                </c:pt>
                <c:pt idx="7">
                  <c:v>6.92667399987935E-2</c:v>
                </c:pt>
                <c:pt idx="9">
                  <c:v>3.0407406750139147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50 GR</c:v>
                </c:pt>
                <c:pt idx="10">
                  <c:v>50-149 GR</c:v>
                </c:pt>
                <c:pt idx="11">
                  <c:v>0-49 GR</c:v>
                </c:pt>
                <c:pt idx="12">
                  <c:v>0-50 GR</c:v>
                </c:pt>
              </c:strCache>
            </c:strRef>
          </c:cat>
          <c:val>
            <c:numRef>
              <c:f>Sheet1!$D$2:$D$14</c:f>
              <c:numCache>
                <c:formatCode>General</c:formatCode>
                <c:ptCount val="13"/>
                <c:pt idx="0">
                  <c:v>2.9043259965824403E-6</c:v>
                </c:pt>
                <c:pt idx="1">
                  <c:v>2.6571251214605983E-2</c:v>
                </c:pt>
                <c:pt idx="2">
                  <c:v>2.7317055035750843E-2</c:v>
                </c:pt>
                <c:pt idx="3">
                  <c:v>4.5750831370006594E-2</c:v>
                </c:pt>
                <c:pt idx="4">
                  <c:v>4.2545361137805576E-2</c:v>
                </c:pt>
                <c:pt idx="5">
                  <c:v>7.2525897194615177E-2</c:v>
                </c:pt>
                <c:pt idx="6">
                  <c:v>8.4196362974186742E-2</c:v>
                </c:pt>
                <c:pt idx="7">
                  <c:v>3.4500046968880441E-2</c:v>
                </c:pt>
                <c:pt idx="8">
                  <c:v>4.0473386706304161E-2</c:v>
                </c:pt>
                <c:pt idx="9">
                  <c:v>8.3870127636580987E-4</c:v>
                </c:pt>
                <c:pt idx="10">
                  <c:v>7.59157197912333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50 GR</c:v>
                </c:pt>
                <c:pt idx="10">
                  <c:v>50-149 GR</c:v>
                </c:pt>
                <c:pt idx="11">
                  <c:v>0-49 GR</c:v>
                </c:pt>
                <c:pt idx="12">
                  <c:v>0-50 GR</c:v>
                </c:pt>
              </c:strCache>
            </c:strRef>
          </c:cat>
          <c:val>
            <c:numRef>
              <c:f>Sheet1!$E$2:$E$14</c:f>
              <c:numCache>
                <c:formatCode>General</c:formatCode>
                <c:ptCount val="13"/>
                <c:pt idx="1">
                  <c:v>4.5123174158938654E-4</c:v>
                </c:pt>
                <c:pt idx="4">
                  <c:v>7.2956265121263963E-2</c:v>
                </c:pt>
                <c:pt idx="5">
                  <c:v>3.2513423595308538E-2</c:v>
                </c:pt>
                <c:pt idx="7">
                  <c:v>1.62443368434079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50 GR</c:v>
                </c:pt>
                <c:pt idx="10">
                  <c:v>50-149 GR</c:v>
                </c:pt>
                <c:pt idx="11">
                  <c:v>0-49 GR</c:v>
                </c:pt>
                <c:pt idx="12">
                  <c:v>0-50 GR</c:v>
                </c:pt>
              </c:strCache>
            </c:strRef>
          </c:cat>
          <c:val>
            <c:numRef>
              <c:f>Sheet1!$F$2:$F$14</c:f>
              <c:numCache>
                <c:formatCode>General</c:formatCode>
                <c:ptCount val="13"/>
                <c:pt idx="0">
                  <c:v>1.5154673535397926E-2</c:v>
                </c:pt>
                <c:pt idx="1">
                  <c:v>1.3315807851434477E-2</c:v>
                </c:pt>
                <c:pt idx="3">
                  <c:v>2.2573963706232768E-5</c:v>
                </c:pt>
                <c:pt idx="4">
                  <c:v>5.4196702520251924E-2</c:v>
                </c:pt>
                <c:pt idx="5">
                  <c:v>1.2572010214587286E-3</c:v>
                </c:pt>
                <c:pt idx="6">
                  <c:v>0.20917819766110338</c:v>
                </c:pt>
                <c:pt idx="7">
                  <c:v>7.7236841072373793E-5</c:v>
                </c:pt>
                <c:pt idx="8">
                  <c:v>4.6321375466112646E-2</c:v>
                </c:pt>
                <c:pt idx="9">
                  <c:v>2.9386125977514241E-6</c:v>
                </c:pt>
                <c:pt idx="10">
                  <c:v>5.8566699599727594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236538655618517E-2</c:v>
                </c:pt>
                <c:pt idx="1">
                  <c:v>2.5881090291032308E-2</c:v>
                </c:pt>
                <c:pt idx="2">
                  <c:v>2.017391439462202E-2</c:v>
                </c:pt>
                <c:pt idx="3">
                  <c:v>3.9383419606315632E-2</c:v>
                </c:pt>
                <c:pt idx="4">
                  <c:v>0.15717055300638599</c:v>
                </c:pt>
                <c:pt idx="5">
                  <c:v>8.8318017773152624E-2</c:v>
                </c:pt>
                <c:pt idx="6">
                  <c:v>0.41071261682106197</c:v>
                </c:pt>
                <c:pt idx="7">
                  <c:v>0.18771142446126557</c:v>
                </c:pt>
                <c:pt idx="8">
                  <c:v>4.4396021725698349E-2</c:v>
                </c:pt>
                <c:pt idx="9">
                  <c:v>1.388366573483737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C$2:$C$14</c:f>
              <c:numCache>
                <c:formatCode>General</c:formatCode>
                <c:ptCount val="13"/>
                <c:pt idx="0">
                  <c:v>1.3898806779292177E-6</c:v>
                </c:pt>
                <c:pt idx="1">
                  <c:v>1.3082697355585021E-2</c:v>
                </c:pt>
                <c:pt idx="2">
                  <c:v>2.017391439462202E-2</c:v>
                </c:pt>
                <c:pt idx="3">
                  <c:v>3.9383144684862856E-2</c:v>
                </c:pt>
                <c:pt idx="4">
                  <c:v>2.6788774014204347E-2</c:v>
                </c:pt>
                <c:pt idx="5">
                  <c:v>8.8281936878044628E-2</c:v>
                </c:pt>
                <c:pt idx="6">
                  <c:v>6.0738920949284021E-2</c:v>
                </c:pt>
                <c:pt idx="7">
                  <c:v>2.9961510131117728E-2</c:v>
                </c:pt>
                <c:pt idx="8">
                  <c:v>4.420740524454112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D$2:$D$14</c:f>
              <c:numCache>
                <c:formatCode>General</c:formatCode>
                <c:ptCount val="13"/>
                <c:pt idx="6">
                  <c:v>8.3354382219192336E-2</c:v>
                </c:pt>
                <c:pt idx="7">
                  <c:v>7.8275086191821081E-2</c:v>
                </c:pt>
                <c:pt idx="9">
                  <c:v>3.9842533341315559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E$2:$E$14</c:f>
              <c:numCache>
                <c:formatCode>General</c:formatCode>
                <c:ptCount val="13"/>
                <c:pt idx="1">
                  <c:v>2.5398160212401056E-4</c:v>
                </c:pt>
                <c:pt idx="4">
                  <c:v>7.2726081771241943E-2</c:v>
                </c:pt>
                <c:pt idx="6">
                  <c:v>4.416413057141879E-2</c:v>
                </c:pt>
                <c:pt idx="7">
                  <c:v>1.338654665456000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F$2:$F$14</c:f>
              <c:numCache>
                <c:formatCode>General</c:formatCode>
                <c:ptCount val="13"/>
                <c:pt idx="0">
                  <c:v>1.2363996675507241E-2</c:v>
                </c:pt>
                <c:pt idx="1">
                  <c:v>1.2544411333323277E-2</c:v>
                </c:pt>
                <c:pt idx="3">
                  <c:v>2.7492145277720789E-7</c:v>
                </c:pt>
                <c:pt idx="4">
                  <c:v>5.7655697220939696E-2</c:v>
                </c:pt>
                <c:pt idx="5">
                  <c:v>3.6080895108001338E-5</c:v>
                </c:pt>
                <c:pt idx="6">
                  <c:v>0.2224551830811668</c:v>
                </c:pt>
                <c:pt idx="7">
                  <c:v>1.886164811572222E-4</c:v>
                </c:pt>
                <c:pt idx="8">
                  <c:v>6.6088281483766761E-2</c:v>
                </c:pt>
                <c:pt idx="9">
                  <c:v>3.8896294429960522E-6</c:v>
                </c:pt>
                <c:pt idx="10">
                  <c:v>9.8994124007058173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7.2960365324271645E-3</c:v>
                </c:pt>
                <c:pt idx="1">
                  <c:v>3.6114911038373609E-2</c:v>
                </c:pt>
                <c:pt idx="4">
                  <c:v>0.13704769360926553</c:v>
                </c:pt>
                <c:pt idx="5">
                  <c:v>0.26434531785433935</c:v>
                </c:pt>
                <c:pt idx="6">
                  <c:v>1.1162341815090673E-3</c:v>
                </c:pt>
                <c:pt idx="7">
                  <c:v>0.40059200559975933</c:v>
                </c:pt>
                <c:pt idx="8">
                  <c:v>3.3359109177129491E-3</c:v>
                </c:pt>
                <c:pt idx="9">
                  <c:v>8.6189692849985005E-4</c:v>
                </c:pt>
                <c:pt idx="10">
                  <c:v>0.14397146372186226</c:v>
                </c:pt>
                <c:pt idx="12">
                  <c:v>5.2192045553033015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2.5205229389434692E-2</c:v>
                </c:pt>
                <c:pt idx="1">
                  <c:v>7.0854005164393927E-2</c:v>
                </c:pt>
                <c:pt idx="4">
                  <c:v>0.22945432953046957</c:v>
                </c:pt>
                <c:pt idx="5">
                  <c:v>3.8148882224123101E-3</c:v>
                </c:pt>
                <c:pt idx="6">
                  <c:v>0.45957844987696017</c:v>
                </c:pt>
                <c:pt idx="7">
                  <c:v>0.19641326098319853</c:v>
                </c:pt>
                <c:pt idx="9">
                  <c:v>1.467023590153841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aprice Des Dieux</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C$2:$C$14</c:f>
              <c:numCache>
                <c:formatCode>General</c:formatCode>
                <c:ptCount val="13"/>
                <c:pt idx="6">
                  <c:v>9.9930715451976682E-2</c:v>
                </c:pt>
                <c:pt idx="7">
                  <c:v>7.9599416074447649E-2</c:v>
                </c:pt>
                <c:pt idx="9">
                  <c:v>3.2377137717328739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D$2:$D$14</c:f>
              <c:numCache>
                <c:formatCode>General</c:formatCode>
                <c:ptCount val="13"/>
                <c:pt idx="1">
                  <c:v>5.63293554281281E-2</c:v>
                </c:pt>
                <c:pt idx="4">
                  <c:v>7.5908432690236213E-2</c:v>
                </c:pt>
                <c:pt idx="6">
                  <c:v>9.789431746896525E-2</c:v>
                </c:pt>
                <c:pt idx="7">
                  <c:v>5.8125506410302778E-2</c:v>
                </c:pt>
                <c:pt idx="9">
                  <c:v>4.0925633209713107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E$2:$E$14</c:f>
              <c:numCache>
                <c:formatCode>General</c:formatCode>
                <c:ptCount val="13"/>
                <c:pt idx="1">
                  <c:v>1.1702211987525574E-2</c:v>
                </c:pt>
                <c:pt idx="4">
                  <c:v>5.187640607041364E-2</c:v>
                </c:pt>
                <c:pt idx="6">
                  <c:v>8.5594710039561803E-2</c:v>
                </c:pt>
                <c:pt idx="7">
                  <c:v>2.3626798950477115E-2</c:v>
                </c:pt>
                <c:pt idx="9">
                  <c:v>7.281091737653283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F$2:$F$14</c:f>
              <c:numCache>
                <c:formatCode>General</c:formatCode>
                <c:ptCount val="13"/>
                <c:pt idx="0">
                  <c:v>2.5205229389434692E-2</c:v>
                </c:pt>
                <c:pt idx="1">
                  <c:v>2.8224377487402518E-3</c:v>
                </c:pt>
                <c:pt idx="4">
                  <c:v>0.10166949076981972</c:v>
                </c:pt>
                <c:pt idx="5">
                  <c:v>3.8148882224123101E-3</c:v>
                </c:pt>
                <c:pt idx="6">
                  <c:v>0.17615870691645644</c:v>
                </c:pt>
                <c:pt idx="7">
                  <c:v>3.5061539547970991E-2</c:v>
                </c:pt>
                <c:pt idx="8">
                  <c:v>9.600931592374348E-6</c:v>
                </c:pt>
                <c:pt idx="10">
                  <c:v>5.8867071180946402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1.794904042781517E-3</c:v>
                </c:pt>
                <c:pt idx="3">
                  <c:v>5.3250800681535662E-2</c:v>
                </c:pt>
                <c:pt idx="4">
                  <c:v>1.2097336922149603E-2</c:v>
                </c:pt>
                <c:pt idx="5">
                  <c:v>0.13317494056842391</c:v>
                </c:pt>
                <c:pt idx="6">
                  <c:v>4.9617802949127432E-2</c:v>
                </c:pt>
                <c:pt idx="7">
                  <c:v>0.45066032068205897</c:v>
                </c:pt>
                <c:pt idx="8">
                  <c:v>0.13758282380576167</c:v>
                </c:pt>
                <c:pt idx="9">
                  <c:v>4.3181035605857232E-2</c:v>
                </c:pt>
                <c:pt idx="10">
                  <c:v>0.11445756851909025</c:v>
                </c:pt>
                <c:pt idx="12">
                  <c:v>3.9161467489326656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50 GR</c:v>
                </c:pt>
                <c:pt idx="8">
                  <c:v>150-249 GR</c:v>
                </c:pt>
                <c:pt idx="9">
                  <c:v>50-149 GR</c:v>
                </c:pt>
                <c:pt idx="10">
                  <c:v>50-150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oignon</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50 GR</c:v>
                </c:pt>
                <c:pt idx="8">
                  <c:v>150-249 GR</c:v>
                </c:pt>
                <c:pt idx="9">
                  <c:v>50-149 GR</c:v>
                </c:pt>
                <c:pt idx="10">
                  <c:v>50-150 GR</c:v>
                </c:pt>
                <c:pt idx="11">
                  <c:v>0-49 GR</c:v>
                </c:pt>
                <c:pt idx="12">
                  <c:v>0-50 GR</c:v>
                </c:pt>
              </c:strCache>
            </c:strRef>
          </c:cat>
          <c:val>
            <c:numRef>
              <c:f>Sheet1!$C$2:$C$14</c:f>
              <c:numCache>
                <c:formatCode>General</c:formatCode>
                <c:ptCount val="13"/>
                <c:pt idx="2">
                  <c:v>3.3512042230674324E-4</c:v>
                </c:pt>
                <c:pt idx="3">
                  <c:v>3.3468966263556457E-2</c:v>
                </c:pt>
                <c:pt idx="5">
                  <c:v>4.8992233294762211E-2</c:v>
                </c:pt>
                <c:pt idx="7">
                  <c:v>0.15638974953160678</c:v>
                </c:pt>
                <c:pt idx="10">
                  <c:v>8.833627784009418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50 GR</c:v>
                </c:pt>
                <c:pt idx="8">
                  <c:v>150-249 GR</c:v>
                </c:pt>
                <c:pt idx="9">
                  <c:v>50-149 GR</c:v>
                </c:pt>
                <c:pt idx="10">
                  <c:v>50-150 GR</c:v>
                </c:pt>
                <c:pt idx="11">
                  <c:v>0-49 GR</c:v>
                </c:pt>
                <c:pt idx="12">
                  <c:v>0-50 GR</c:v>
                </c:pt>
              </c:strCache>
            </c:strRef>
          </c:cat>
          <c:val>
            <c:numRef>
              <c:f>Sheet1!$D$2:$D$14</c:f>
              <c:numCache>
                <c:formatCode>General</c:formatCode>
                <c:ptCount val="13"/>
                <c:pt idx="1">
                  <c:v>5.9198718012955866E-5</c:v>
                </c:pt>
                <c:pt idx="2">
                  <c:v>3.1922997346317285E-5</c:v>
                </c:pt>
                <c:pt idx="3">
                  <c:v>1.3676061664302791E-2</c:v>
                </c:pt>
                <c:pt idx="4">
                  <c:v>1.0548868286558133E-2</c:v>
                </c:pt>
                <c:pt idx="5">
                  <c:v>4.4745512076967246E-2</c:v>
                </c:pt>
                <c:pt idx="6">
                  <c:v>4.9037724956086076E-2</c:v>
                </c:pt>
                <c:pt idx="7">
                  <c:v>0.1149777879574404</c:v>
                </c:pt>
                <c:pt idx="8">
                  <c:v>0.13640114528173514</c:v>
                </c:pt>
                <c:pt idx="9">
                  <c:v>4.2830538764778374E-2</c:v>
                </c:pt>
                <c:pt idx="10">
                  <c:v>3.5357179120799359E-2</c:v>
                </c:pt>
                <c:pt idx="11">
                  <c:v>5.2948804307607585E-5</c:v>
                </c:pt>
                <c:pt idx="12">
                  <c:v>3.7490029515631416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50 GR</c:v>
                </c:pt>
                <c:pt idx="8">
                  <c:v>150-249 GR</c:v>
                </c:pt>
                <c:pt idx="9">
                  <c:v>50-149 GR</c:v>
                </c:pt>
                <c:pt idx="10">
                  <c:v>50-150 GR</c:v>
                </c:pt>
                <c:pt idx="11">
                  <c:v>0-49 GR</c:v>
                </c:pt>
                <c:pt idx="12">
                  <c:v>0-50 GR</c:v>
                </c:pt>
              </c:strCache>
            </c:strRef>
          </c:cat>
          <c:val>
            <c:numRef>
              <c:f>Sheet1!$E$2:$E$14</c:f>
              <c:numCache>
                <c:formatCode>General</c:formatCode>
                <c:ptCount val="13"/>
                <c:pt idx="3">
                  <c:v>2.1390953659405658E-3</c:v>
                </c:pt>
                <c:pt idx="5">
                  <c:v>2.3546841498113261E-2</c:v>
                </c:pt>
                <c:pt idx="7">
                  <c:v>4.9812552385502723E-2</c:v>
                </c:pt>
                <c:pt idx="9">
                  <c:v>1.2010510323445093E-6</c:v>
                </c:pt>
                <c:pt idx="10">
                  <c:v>6.936255059171077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50 GR</c:v>
                </c:pt>
                <c:pt idx="8">
                  <c:v>150-249 GR</c:v>
                </c:pt>
                <c:pt idx="9">
                  <c:v>50-149 GR</c:v>
                </c:pt>
                <c:pt idx="10">
                  <c:v>50-150 GR</c:v>
                </c:pt>
                <c:pt idx="11">
                  <c:v>0-49 GR</c:v>
                </c:pt>
                <c:pt idx="12">
                  <c:v>0-50 GR</c:v>
                </c:pt>
              </c:strCache>
            </c:strRef>
          </c:cat>
          <c:val>
            <c:numRef>
              <c:f>Sheet1!$F$2:$F$14</c:f>
              <c:numCache>
                <c:formatCode>General</c:formatCode>
                <c:ptCount val="13"/>
                <c:pt idx="3">
                  <c:v>3.9666773877358504E-3</c:v>
                </c:pt>
                <c:pt idx="4">
                  <c:v>1.5484686355914713E-3</c:v>
                </c:pt>
                <c:pt idx="5">
                  <c:v>1.5890353698581171E-2</c:v>
                </c:pt>
                <c:pt idx="7">
                  <c:v>0.12948023080750909</c:v>
                </c:pt>
                <c:pt idx="8">
                  <c:v>1.1816785240265082E-3</c:v>
                </c:pt>
                <c:pt idx="10">
                  <c:v>6.957313610836438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1.9200574149634607E-3</c:v>
                </c:pt>
                <c:pt idx="3">
                  <c:v>6.1681669626251878E-2</c:v>
                </c:pt>
                <c:pt idx="4">
                  <c:v>2.7371261184344724E-2</c:v>
                </c:pt>
                <c:pt idx="5">
                  <c:v>3.4117434126563401E-2</c:v>
                </c:pt>
                <c:pt idx="6">
                  <c:v>0.11202142177201879</c:v>
                </c:pt>
                <c:pt idx="7">
                  <c:v>0.44086480824993957</c:v>
                </c:pt>
                <c:pt idx="8">
                  <c:v>0.12558123125571202</c:v>
                </c:pt>
                <c:pt idx="9">
                  <c:v>6.4350498199608197E-2</c:v>
                </c:pt>
                <c:pt idx="10">
                  <c:v>0.13114877323465615</c:v>
                </c:pt>
                <c:pt idx="12">
                  <c:v>5.0455592082050151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49 GR</c:v>
                </c:pt>
                <c:pt idx="6">
                  <c:v>250-350 GR</c:v>
                </c:pt>
                <c:pt idx="7">
                  <c:v>150-250 GR</c:v>
                </c:pt>
                <c:pt idx="8">
                  <c:v>150-249 GR</c:v>
                </c:pt>
                <c:pt idx="9">
                  <c:v>50-149 GR</c:v>
                </c:pt>
                <c:pt idx="10">
                  <c:v>50-150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oignon</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49 GR</c:v>
                </c:pt>
                <c:pt idx="6">
                  <c:v>250-350 GR</c:v>
                </c:pt>
                <c:pt idx="7">
                  <c:v>150-250 GR</c:v>
                </c:pt>
                <c:pt idx="8">
                  <c:v>150-249 GR</c:v>
                </c:pt>
                <c:pt idx="9">
                  <c:v>50-149 GR</c:v>
                </c:pt>
                <c:pt idx="10">
                  <c:v>50-150 GR</c:v>
                </c:pt>
                <c:pt idx="11">
                  <c:v>0-49 GR</c:v>
                </c:pt>
                <c:pt idx="12">
                  <c:v>0-50 GR</c:v>
                </c:pt>
              </c:strCache>
            </c:strRef>
          </c:cat>
          <c:val>
            <c:numRef>
              <c:f>Sheet1!$C$2:$C$14</c:f>
              <c:numCache>
                <c:formatCode>General</c:formatCode>
                <c:ptCount val="13"/>
                <c:pt idx="2">
                  <c:v>4.0567911570269795E-5</c:v>
                </c:pt>
                <c:pt idx="3">
                  <c:v>3.2908010742209462E-2</c:v>
                </c:pt>
                <c:pt idx="6">
                  <c:v>5.2867011871372105E-2</c:v>
                </c:pt>
                <c:pt idx="7">
                  <c:v>0.16366770150492665</c:v>
                </c:pt>
                <c:pt idx="10">
                  <c:v>7.836428086334947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49 GR</c:v>
                </c:pt>
                <c:pt idx="6">
                  <c:v>250-350 GR</c:v>
                </c:pt>
                <c:pt idx="7">
                  <c:v>150-250 GR</c:v>
                </c:pt>
                <c:pt idx="8">
                  <c:v>150-249 GR</c:v>
                </c:pt>
                <c:pt idx="9">
                  <c:v>50-149 GR</c:v>
                </c:pt>
                <c:pt idx="10">
                  <c:v>50-150 GR</c:v>
                </c:pt>
                <c:pt idx="11">
                  <c:v>0-49 GR</c:v>
                </c:pt>
                <c:pt idx="12">
                  <c:v>0-50 GR</c:v>
                </c:pt>
              </c:strCache>
            </c:strRef>
          </c:cat>
          <c:val>
            <c:numRef>
              <c:f>Sheet1!$D$2:$D$14</c:f>
              <c:numCache>
                <c:formatCode>General</c:formatCode>
                <c:ptCount val="13"/>
                <c:pt idx="3">
                  <c:v>1.9290079348336934E-2</c:v>
                </c:pt>
                <c:pt idx="4">
                  <c:v>2.7370782506922067E-2</c:v>
                </c:pt>
                <c:pt idx="5">
                  <c:v>3.2974875994687007E-2</c:v>
                </c:pt>
                <c:pt idx="6">
                  <c:v>2.2449499924574647E-2</c:v>
                </c:pt>
                <c:pt idx="7">
                  <c:v>8.1704476959987907E-2</c:v>
                </c:pt>
                <c:pt idx="8">
                  <c:v>0.12444933117582449</c:v>
                </c:pt>
                <c:pt idx="9">
                  <c:v>6.3659512381331843E-2</c:v>
                </c:pt>
                <c:pt idx="10">
                  <c:v>4.1597905714474255E-2</c:v>
                </c:pt>
                <c:pt idx="11">
                  <c:v>3.0597958376470086E-4</c:v>
                </c:pt>
                <c:pt idx="12">
                  <c:v>2.1225604027520032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49 GR</c:v>
                </c:pt>
                <c:pt idx="6">
                  <c:v>250-350 GR</c:v>
                </c:pt>
                <c:pt idx="7">
                  <c:v>150-250 GR</c:v>
                </c:pt>
                <c:pt idx="8">
                  <c:v>150-249 GR</c:v>
                </c:pt>
                <c:pt idx="9">
                  <c:v>50-149 GR</c:v>
                </c:pt>
                <c:pt idx="10">
                  <c:v>50-150 GR</c:v>
                </c:pt>
                <c:pt idx="11">
                  <c:v>0-49 GR</c:v>
                </c:pt>
                <c:pt idx="12">
                  <c:v>0-50 GR</c:v>
                </c:pt>
              </c:strCache>
            </c:strRef>
          </c:cat>
          <c:val>
            <c:numRef>
              <c:f>Sheet1!$E$2:$E$14</c:f>
              <c:numCache>
                <c:formatCode>General</c:formatCode>
                <c:ptCount val="13"/>
                <c:pt idx="3">
                  <c:v>5.2155196105875398E-3</c:v>
                </c:pt>
                <c:pt idx="6">
                  <c:v>2.361021788117313E-2</c:v>
                </c:pt>
                <c:pt idx="7">
                  <c:v>3.766274349881079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49 GR</c:v>
                </c:pt>
                <c:pt idx="6">
                  <c:v>250-350 GR</c:v>
                </c:pt>
                <c:pt idx="7">
                  <c:v>150-250 GR</c:v>
                </c:pt>
                <c:pt idx="8">
                  <c:v>150-249 GR</c:v>
                </c:pt>
                <c:pt idx="9">
                  <c:v>50-149 GR</c:v>
                </c:pt>
                <c:pt idx="10">
                  <c:v>50-150 GR</c:v>
                </c:pt>
                <c:pt idx="11">
                  <c:v>0-49 GR</c:v>
                </c:pt>
                <c:pt idx="12">
                  <c:v>0-50 GR</c:v>
                </c:pt>
              </c:strCache>
            </c:strRef>
          </c:cat>
          <c:val>
            <c:numRef>
              <c:f>Sheet1!$F$2:$F$14</c:f>
              <c:numCache>
                <c:formatCode>General</c:formatCode>
                <c:ptCount val="13"/>
                <c:pt idx="4">
                  <c:v>6.251826313303303E-4</c:v>
                </c:pt>
                <c:pt idx="6">
                  <c:v>1.3094692094898906E-2</c:v>
                </c:pt>
                <c:pt idx="7">
                  <c:v>0.15782988628621419</c:v>
                </c:pt>
                <c:pt idx="8">
                  <c:v>1.1319000798875223E-3</c:v>
                </c:pt>
                <c:pt idx="9">
                  <c:v>1.4489662815210672E-2</c:v>
                </c:pt>
                <c:pt idx="12">
                  <c:v>2.9229988054530121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3.2845213709128342E-3</c:v>
                </c:pt>
                <c:pt idx="3">
                  <c:v>9.7217668156847847E-2</c:v>
                </c:pt>
                <c:pt idx="5">
                  <c:v>0.19111521943318921</c:v>
                </c:pt>
                <c:pt idx="7">
                  <c:v>3.4411113190741596E-3</c:v>
                </c:pt>
                <c:pt idx="8">
                  <c:v>0.56736849062265338</c:v>
                </c:pt>
                <c:pt idx="9">
                  <c:v>0.10745682504514192</c:v>
                </c:pt>
                <c:pt idx="12">
                  <c:v>3.002206063263369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B$2:$B$14</c:f>
              <c:numCache>
                <c:formatCode>General</c:formatCode>
                <c:ptCount val="13"/>
                <c:pt idx="4">
                  <c:v>6.9680809199042524E-3</c:v>
                </c:pt>
                <c:pt idx="5">
                  <c:v>4.484730103724654E-3</c:v>
                </c:pt>
                <c:pt idx="7">
                  <c:v>1.1764920110831023E-2</c:v>
                </c:pt>
                <c:pt idx="10">
                  <c:v>6.68743189734493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C$2:$C$14</c:f>
              <c:numCache>
                <c:formatCode>General</c:formatCode>
                <c:ptCount val="13"/>
                <c:pt idx="1">
                  <c:v>1.5760678673748484E-2</c:v>
                </c:pt>
                <c:pt idx="4">
                  <c:v>4.6103620658581278E-2</c:v>
                </c:pt>
                <c:pt idx="5">
                  <c:v>6.1193146650079411E-2</c:v>
                </c:pt>
                <c:pt idx="7">
                  <c:v>0.13350723489422542</c:v>
                </c:pt>
                <c:pt idx="10">
                  <c:v>6.8489508319683992E-2</c:v>
                </c:pt>
                <c:pt idx="12">
                  <c:v>5.1706321906597038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D$2:$D$14</c:f>
              <c:numCache>
                <c:formatCode>General</c:formatCode>
                <c:ptCount val="13"/>
                <c:pt idx="4">
                  <c:v>7.623440976579801E-3</c:v>
                </c:pt>
                <c:pt idx="5">
                  <c:v>1.2151567330631614E-2</c:v>
                </c:pt>
                <c:pt idx="7">
                  <c:v>3.6291109308011986E-2</c:v>
                </c:pt>
                <c:pt idx="10">
                  <c:v>1.5148575771281414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E$2:$E$14</c:f>
              <c:numCache>
                <c:formatCode>General</c:formatCode>
                <c:ptCount val="13"/>
                <c:pt idx="1">
                  <c:v>3.2742217890776816E-3</c:v>
                </c:pt>
                <c:pt idx="4">
                  <c:v>1.4514827774046012E-2</c:v>
                </c:pt>
                <c:pt idx="5">
                  <c:v>2.8338852061674934E-2</c:v>
                </c:pt>
                <c:pt idx="7">
                  <c:v>2.0127270966473928E-2</c:v>
                </c:pt>
                <c:pt idx="10">
                  <c:v>2.03721392512039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F$2:$F$14</c:f>
              <c:numCache>
                <c:formatCode>General</c:formatCode>
                <c:ptCount val="13"/>
                <c:pt idx="0">
                  <c:v>7.2960365324271645E-3</c:v>
                </c:pt>
                <c:pt idx="1">
                  <c:v>1.708001057554745E-2</c:v>
                </c:pt>
                <c:pt idx="3">
                  <c:v>9.9325060947528981E-5</c:v>
                </c:pt>
                <c:pt idx="4">
                  <c:v>6.1837723280154168E-2</c:v>
                </c:pt>
                <c:pt idx="5">
                  <c:v>1.1162341815090673E-3</c:v>
                </c:pt>
                <c:pt idx="6">
                  <c:v>0.15817702170822875</c:v>
                </c:pt>
                <c:pt idx="7">
                  <c:v>0.19890147032021702</c:v>
                </c:pt>
                <c:pt idx="8">
                  <c:v>3.3359109177129496E-3</c:v>
                </c:pt>
                <c:pt idx="9">
                  <c:v>8.6189692849985005E-4</c:v>
                </c:pt>
                <c:pt idx="10">
                  <c:v>6.5242452002584814E-2</c:v>
                </c:pt>
                <c:pt idx="11">
                  <c:v>4.857236464359783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oignon</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C$2:$C$14</c:f>
              <c:numCache>
                <c:formatCode>General</c:formatCode>
                <c:ptCount val="13"/>
                <c:pt idx="3">
                  <c:v>4.4275361005366644E-2</c:v>
                </c:pt>
                <c:pt idx="5">
                  <c:v>7.0573777903913226E-2</c:v>
                </c:pt>
                <c:pt idx="8">
                  <c:v>0.21077122139907115</c:v>
                </c:pt>
                <c:pt idx="9">
                  <c:v>8.797978013486810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D$2:$D$14</c:f>
              <c:numCache>
                <c:formatCode>General</c:formatCode>
                <c:ptCount val="13"/>
                <c:pt idx="3">
                  <c:v>5.2253107399629878E-2</c:v>
                </c:pt>
                <c:pt idx="5">
                  <c:v>8.8802657434521051E-2</c:v>
                </c:pt>
                <c:pt idx="8">
                  <c:v>0.1899503525949808</c:v>
                </c:pt>
                <c:pt idx="9">
                  <c:v>5.7897636301643719E-2</c:v>
                </c:pt>
                <c:pt idx="12">
                  <c:v>3.002206063263369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E$2:$E$14</c:f>
              <c:numCache>
                <c:formatCode>General</c:formatCode>
                <c:ptCount val="13"/>
                <c:pt idx="3">
                  <c:v>3.6352860861596125E-7</c:v>
                </c:pt>
                <c:pt idx="5">
                  <c:v>2.5092572307733631E-2</c:v>
                </c:pt>
                <c:pt idx="8">
                  <c:v>7.850165019267774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F$2:$F$14</c:f>
              <c:numCache>
                <c:formatCode>General</c:formatCode>
                <c:ptCount val="13"/>
                <c:pt idx="2">
                  <c:v>3.2845213709128342E-3</c:v>
                </c:pt>
                <c:pt idx="3">
                  <c:v>6.8883622324271659E-4</c:v>
                </c:pt>
                <c:pt idx="5">
                  <c:v>6.6462117870213118E-3</c:v>
                </c:pt>
                <c:pt idx="7">
                  <c:v>3.4411113190741596E-3</c:v>
                </c:pt>
                <c:pt idx="8">
                  <c:v>8.8145266435923617E-2</c:v>
                </c:pt>
                <c:pt idx="9">
                  <c:v>9.4103419547003967E-5</c:v>
                </c:pt>
                <c:pt idx="10">
                  <c:v>4.076121073001139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1.1365210675183357E-3</c:v>
                </c:pt>
                <c:pt idx="3">
                  <c:v>4.8473048402440178E-3</c:v>
                </c:pt>
                <c:pt idx="5">
                  <c:v>3.061400700725753E-2</c:v>
                </c:pt>
                <c:pt idx="7">
                  <c:v>0.18532018079823825</c:v>
                </c:pt>
                <c:pt idx="8">
                  <c:v>0.70489681660115278</c:v>
                </c:pt>
                <c:pt idx="9">
                  <c:v>6.6737756998520831E-2</c:v>
                </c:pt>
                <c:pt idx="10">
                  <c:v>6.078194301694659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C$2:$C$14</c:f>
              <c:numCache>
                <c:formatCode>General</c:formatCode>
                <c:ptCount val="13"/>
                <c:pt idx="7">
                  <c:v>0.18339214263108336</c:v>
                </c:pt>
                <c:pt idx="8">
                  <c:v>0.157485835080581</c:v>
                </c:pt>
                <c:pt idx="9">
                  <c:v>7.0224778476539566E-3</c:v>
                </c:pt>
                <c:pt idx="10">
                  <c:v>5.9821361072420328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D$2:$D$14</c:f>
              <c:numCache>
                <c:formatCode>General</c:formatCode>
                <c:ptCount val="13"/>
                <c:pt idx="7">
                  <c:v>5.6932347279614364E-7</c:v>
                </c:pt>
                <c:pt idx="8">
                  <c:v>0.1810347982256440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E$2:$E$14</c:f>
              <c:numCache>
                <c:formatCode>General</c:formatCode>
                <c:ptCount val="13"/>
                <c:pt idx="5">
                  <c:v>1.1224575664137333E-3</c:v>
                </c:pt>
                <c:pt idx="8">
                  <c:v>0.16484119757410542</c:v>
                </c:pt>
                <c:pt idx="9">
                  <c:v>1.84260815174549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F$2:$F$14</c:f>
              <c:numCache>
                <c:formatCode>General</c:formatCode>
                <c:ptCount val="13"/>
                <c:pt idx="2">
                  <c:v>1.1365210675183357E-3</c:v>
                </c:pt>
                <c:pt idx="3">
                  <c:v>4.8473048402440178E-3</c:v>
                </c:pt>
                <c:pt idx="4">
                  <c:v>2.50138930068944E-6</c:v>
                </c:pt>
                <c:pt idx="5">
                  <c:v>1.2718928647573422E-7</c:v>
                </c:pt>
                <c:pt idx="6">
                  <c:v>2.9491549440843798E-2</c:v>
                </c:pt>
                <c:pt idx="7">
                  <c:v>1.9274688436821017E-3</c:v>
                </c:pt>
                <c:pt idx="8">
                  <c:v>0.20153498572082221</c:v>
                </c:pt>
                <c:pt idx="9">
                  <c:v>4.1289197633411961E-2</c:v>
                </c:pt>
                <c:pt idx="10">
                  <c:v>9.6058194452625952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6.9766865028658774E-4</c:v>
                </c:pt>
                <c:pt idx="1">
                  <c:v>1.4491880932194251E-3</c:v>
                </c:pt>
                <c:pt idx="4">
                  <c:v>4.4576960941318028E-3</c:v>
                </c:pt>
                <c:pt idx="6">
                  <c:v>3.0277145264557645E-2</c:v>
                </c:pt>
                <c:pt idx="7">
                  <c:v>0.70390349968817845</c:v>
                </c:pt>
                <c:pt idx="8">
                  <c:v>0.13449200745841194</c:v>
                </c:pt>
                <c:pt idx="9">
                  <c:v>1.0069558173919621E-2</c:v>
                </c:pt>
                <c:pt idx="10">
                  <c:v>0.1146532365772945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49 GR</c:v>
                </c:pt>
                <c:pt idx="10">
                  <c:v>50-150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Istara</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49 GR</c:v>
                </c:pt>
                <c:pt idx="10">
                  <c:v>50-150 GR</c:v>
                </c:pt>
                <c:pt idx="11">
                  <c:v>0-49 GR</c:v>
                </c:pt>
                <c:pt idx="12">
                  <c:v>0-50 GR</c:v>
                </c:pt>
              </c:strCache>
            </c:strRef>
          </c:cat>
          <c:val>
            <c:numRef>
              <c:f>Sheet1!$C$2:$C$14</c:f>
              <c:numCache>
                <c:formatCode>General</c:formatCode>
                <c:ptCount val="13"/>
                <c:pt idx="7">
                  <c:v>0.1861340303796392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ou Pera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49 GR</c:v>
                </c:pt>
                <c:pt idx="10">
                  <c:v>50-150 GR</c:v>
                </c:pt>
                <c:pt idx="11">
                  <c:v>0-49 GR</c:v>
                </c:pt>
                <c:pt idx="12">
                  <c:v>0-50 GR</c:v>
                </c:pt>
              </c:strCache>
            </c:strRef>
          </c:cat>
          <c:val>
            <c:numRef>
              <c:f>Sheet1!$D$2:$D$14</c:f>
              <c:numCache>
                <c:formatCode>General</c:formatCode>
                <c:ptCount val="13"/>
                <c:pt idx="7">
                  <c:v>0.17811388833158634</c:v>
                </c:pt>
                <c:pt idx="10">
                  <c:v>2.073930580542019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49 GR</c:v>
                </c:pt>
                <c:pt idx="10">
                  <c:v>50-150 GR</c:v>
                </c:pt>
                <c:pt idx="11">
                  <c:v>0-49 GR</c:v>
                </c:pt>
                <c:pt idx="12">
                  <c:v>0-50 GR</c:v>
                </c:pt>
              </c:strCache>
            </c:strRef>
          </c:cat>
          <c:val>
            <c:numRef>
              <c:f>Sheet1!$E$2:$E$14</c:f>
              <c:numCache>
                <c:formatCode>General</c:formatCode>
                <c:ptCount val="13"/>
                <c:pt idx="0">
                  <c:v>8.671674918966323E-5</c:v>
                </c:pt>
                <c:pt idx="7">
                  <c:v>7.9365884543051921E-2</c:v>
                </c:pt>
                <c:pt idx="8">
                  <c:v>0.12535820324438682</c:v>
                </c:pt>
                <c:pt idx="9">
                  <c:v>9.8713980580000041E-3</c:v>
                </c:pt>
                <c:pt idx="10">
                  <c:v>6.2286002408395696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49 GR</c:v>
                </c:pt>
                <c:pt idx="10">
                  <c:v>50-150 GR</c:v>
                </c:pt>
                <c:pt idx="11">
                  <c:v>0-49 GR</c:v>
                </c:pt>
                <c:pt idx="12">
                  <c:v>0-50 GR</c:v>
                </c:pt>
              </c:strCache>
            </c:strRef>
          </c:cat>
          <c:val>
            <c:numRef>
              <c:f>Sheet1!$F$2:$F$14</c:f>
              <c:numCache>
                <c:formatCode>General</c:formatCode>
                <c:ptCount val="13"/>
                <c:pt idx="0">
                  <c:v>6.1095190109692449E-4</c:v>
                </c:pt>
                <c:pt idx="1">
                  <c:v>1.4491880932194251E-3</c:v>
                </c:pt>
                <c:pt idx="4">
                  <c:v>4.4576960941318028E-3</c:v>
                </c:pt>
                <c:pt idx="6">
                  <c:v>3.0277145264557642E-2</c:v>
                </c:pt>
                <c:pt idx="7">
                  <c:v>9.1338042140251142E-3</c:v>
                </c:pt>
                <c:pt idx="8">
                  <c:v>0.26028969643390099</c:v>
                </c:pt>
                <c:pt idx="9">
                  <c:v>8.7685330531034777E-2</c:v>
                </c:pt>
                <c:pt idx="10">
                  <c:v>1.9816011591961742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6">
                  <c:v>4.3253304601556915E-2</c:v>
                </c:pt>
                <c:pt idx="7">
                  <c:v>0.86281742512960802</c:v>
                </c:pt>
                <c:pt idx="10">
                  <c:v>9.336604484905444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49 GR</c:v>
                </c:pt>
                <c:pt idx="10">
                  <c:v>50-150 GR</c:v>
                </c:pt>
                <c:pt idx="11">
                  <c:v>0-50 GR</c:v>
                </c:pt>
                <c:pt idx="12">
                  <c:v>0-49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Istara</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49 GR</c:v>
                </c:pt>
                <c:pt idx="10">
                  <c:v>50-150 GR</c:v>
                </c:pt>
                <c:pt idx="11">
                  <c:v>0-50 GR</c:v>
                </c:pt>
                <c:pt idx="12">
                  <c:v>0-49 GR</c:v>
                </c:pt>
              </c:strCache>
            </c:strRef>
          </c:cat>
          <c:val>
            <c:numRef>
              <c:f>Sheet1!$C$2:$C$14</c:f>
              <c:numCache>
                <c:formatCode>General</c:formatCode>
                <c:ptCount val="13"/>
                <c:pt idx="7">
                  <c:v>0.2676124875882950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49 GR</c:v>
                </c:pt>
                <c:pt idx="10">
                  <c:v>50-150 GR</c:v>
                </c:pt>
                <c:pt idx="11">
                  <c:v>0-50 GR</c:v>
                </c:pt>
                <c:pt idx="12">
                  <c:v>0-49 GR</c:v>
                </c:pt>
              </c:strCache>
            </c:strRef>
          </c:cat>
          <c:val>
            <c:numRef>
              <c:f>Sheet1!$D$2:$D$14</c:f>
              <c:numCache>
                <c:formatCode>General</c:formatCode>
                <c:ptCount val="13"/>
                <c:pt idx="7">
                  <c:v>0.26754454081973494</c:v>
                </c:pt>
                <c:pt idx="10">
                  <c:v>2.276578368223142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49 GR</c:v>
                </c:pt>
                <c:pt idx="10">
                  <c:v>50-150 GR</c:v>
                </c:pt>
                <c:pt idx="11">
                  <c:v>0-50 GR</c:v>
                </c:pt>
                <c:pt idx="12">
                  <c:v>0-49 GR</c:v>
                </c:pt>
              </c:strCache>
            </c:strRef>
          </c:cat>
          <c:val>
            <c:numRef>
              <c:f>Sheet1!$E$2:$E$14</c:f>
              <c:numCache>
                <c:formatCode>General</c:formatCode>
                <c:ptCount val="13"/>
                <c:pt idx="7">
                  <c:v>0.16700735214488155</c:v>
                </c:pt>
                <c:pt idx="10">
                  <c:v>2.720587661513941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49 GR</c:v>
                </c:pt>
                <c:pt idx="10">
                  <c:v>50-150 GR</c:v>
                </c:pt>
                <c:pt idx="11">
                  <c:v>0-50 GR</c:v>
                </c:pt>
                <c:pt idx="12">
                  <c:v>0-49 GR</c:v>
                </c:pt>
              </c:strCache>
            </c:strRef>
          </c:cat>
          <c:val>
            <c:numRef>
              <c:f>Sheet1!$F$2:$F$14</c:f>
              <c:numCache>
                <c:formatCode>General</c:formatCode>
                <c:ptCount val="13"/>
                <c:pt idx="6">
                  <c:v>4.3253304601556915E-2</c:v>
                </c:pt>
                <c:pt idx="7">
                  <c:v>0.16065304457669638</c:v>
                </c:pt>
                <c:pt idx="10">
                  <c:v>4.339438455168360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2.9517962603237375E-2</c:v>
                </c:pt>
                <c:pt idx="1">
                  <c:v>0.15609582739574643</c:v>
                </c:pt>
                <c:pt idx="4">
                  <c:v>2.4981692301340005E-2</c:v>
                </c:pt>
                <c:pt idx="6">
                  <c:v>0.33239380805694496</c:v>
                </c:pt>
                <c:pt idx="7">
                  <c:v>0.44152779138195869</c:v>
                </c:pt>
                <c:pt idx="9">
                  <c:v>1.542109814398873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C$2:$C$14</c:f>
              <c:numCache>
                <c:formatCode>General</c:formatCode>
                <c:ptCount val="13"/>
                <c:pt idx="0">
                  <c:v>5.6032246709345913E-3</c:v>
                </c:pt>
                <c:pt idx="1">
                  <c:v>4.919947053983257E-2</c:v>
                </c:pt>
                <c:pt idx="4">
                  <c:v>1.3505438663336689E-2</c:v>
                </c:pt>
                <c:pt idx="6">
                  <c:v>0.12289156978116038</c:v>
                </c:pt>
                <c:pt idx="7">
                  <c:v>0.18569110833104732</c:v>
                </c:pt>
                <c:pt idx="9">
                  <c:v>4.015616843895275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D$2:$D$14</c:f>
              <c:numCache>
                <c:formatCode>General</c:formatCode>
                <c:ptCount val="13"/>
                <c:pt idx="1">
                  <c:v>3.2172449604721029E-2</c:v>
                </c:pt>
                <c:pt idx="6">
                  <c:v>6.7868026018800515E-2</c:v>
                </c:pt>
                <c:pt idx="7">
                  <c:v>4.0753274475057045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E$2:$E$14</c:f>
              <c:numCache>
                <c:formatCode>General</c:formatCode>
                <c:ptCount val="13"/>
                <c:pt idx="1">
                  <c:v>2.4947147498910883E-3</c:v>
                </c:pt>
                <c:pt idx="6">
                  <c:v>4.7286741616016793E-2</c:v>
                </c:pt>
                <c:pt idx="7">
                  <c:v>6.1364254645171886E-3</c:v>
                </c:pt>
                <c:pt idx="9">
                  <c:v>6.0247127192103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F$2:$F$14</c:f>
              <c:numCache>
                <c:formatCode>General</c:formatCode>
                <c:ptCount val="13"/>
                <c:pt idx="0">
                  <c:v>2.3914737932302785E-2</c:v>
                </c:pt>
                <c:pt idx="1">
                  <c:v>7.2229192501301734E-2</c:v>
                </c:pt>
                <c:pt idx="4">
                  <c:v>1.1476253638003316E-2</c:v>
                </c:pt>
                <c:pt idx="6">
                  <c:v>9.4347470640967268E-2</c:v>
                </c:pt>
                <c:pt idx="7">
                  <c:v>0.24562493013888845</c:v>
                </c:pt>
                <c:pt idx="8">
                  <c:v>5.5743580764115142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6.295936018988206E-2</c:v>
                </c:pt>
                <c:pt idx="1">
                  <c:v>0.15937207117371918</c:v>
                </c:pt>
                <c:pt idx="4">
                  <c:v>3.7684488257838142E-2</c:v>
                </c:pt>
                <c:pt idx="6">
                  <c:v>0.26112921429863634</c:v>
                </c:pt>
                <c:pt idx="7">
                  <c:v>0.46450291190561643</c:v>
                </c:pt>
                <c:pt idx="9">
                  <c:v>1.43512567817688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C$2:$C$14</c:f>
              <c:numCache>
                <c:formatCode>General</c:formatCode>
                <c:ptCount val="13"/>
                <c:pt idx="0">
                  <c:v>2.9026544909140497E-2</c:v>
                </c:pt>
                <c:pt idx="1">
                  <c:v>4.9076295754269951E-2</c:v>
                </c:pt>
                <c:pt idx="4">
                  <c:v>1.8743264202139311E-2</c:v>
                </c:pt>
                <c:pt idx="6">
                  <c:v>8.2009121296644588E-2</c:v>
                </c:pt>
                <c:pt idx="7">
                  <c:v>0.17396774269164286</c:v>
                </c:pt>
                <c:pt idx="9">
                  <c:v>4.3189377612882556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D$2:$D$14</c:f>
              <c:numCache>
                <c:formatCode>General</c:formatCode>
                <c:ptCount val="13"/>
                <c:pt idx="1">
                  <c:v>2.5508156852576954E-2</c:v>
                </c:pt>
                <c:pt idx="6">
                  <c:v>5.3635720081493594E-2</c:v>
                </c:pt>
                <c:pt idx="7">
                  <c:v>7.0561465467092674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E$2:$E$14</c:f>
              <c:numCache>
                <c:formatCode>General</c:formatCode>
                <c:ptCount val="13"/>
                <c:pt idx="1">
                  <c:v>1.7297754491382299E-3</c:v>
                </c:pt>
                <c:pt idx="6">
                  <c:v>4.0675177882420498E-2</c:v>
                </c:pt>
                <c:pt idx="7">
                  <c:v>3.3293519810025716E-3</c:v>
                </c:pt>
                <c:pt idx="9">
                  <c:v>4.9331271006014781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F$2:$F$14</c:f>
              <c:numCache>
                <c:formatCode>General</c:formatCode>
                <c:ptCount val="13"/>
                <c:pt idx="0">
                  <c:v>3.393281528074156E-2</c:v>
                </c:pt>
                <c:pt idx="1">
                  <c:v>8.3057843117734051E-2</c:v>
                </c:pt>
                <c:pt idx="4">
                  <c:v>1.8941224055698834E-2</c:v>
                </c:pt>
                <c:pt idx="6">
                  <c:v>8.4809195038077698E-2</c:v>
                </c:pt>
                <c:pt idx="7">
                  <c:v>0.28014967068626173</c:v>
                </c:pt>
                <c:pt idx="9">
                  <c:v>9.5390063104204351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7240477465735825E-3</c:v>
                </c:pt>
                <c:pt idx="1">
                  <c:v>0.13191205784668772</c:v>
                </c:pt>
                <c:pt idx="4">
                  <c:v>1.954729740219114E-2</c:v>
                </c:pt>
                <c:pt idx="6">
                  <c:v>0.39049046490337336</c:v>
                </c:pt>
                <c:pt idx="7">
                  <c:v>0.44042776777347037</c:v>
                </c:pt>
                <c:pt idx="9">
                  <c:v>1.566037301653282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C$2:$C$14</c:f>
              <c:numCache>
                <c:formatCode>General</c:formatCode>
                <c:ptCount val="13"/>
                <c:pt idx="1">
                  <c:v>4.8509220082580955E-2</c:v>
                </c:pt>
                <c:pt idx="4">
                  <c:v>1.3243685638868293E-2</c:v>
                </c:pt>
                <c:pt idx="6">
                  <c:v>0.15768088475932499</c:v>
                </c:pt>
                <c:pt idx="7">
                  <c:v>0.20304789096380393</c:v>
                </c:pt>
                <c:pt idx="9">
                  <c:v>7.9758331768185389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D$2:$D$14</c:f>
              <c:numCache>
                <c:formatCode>General</c:formatCode>
                <c:ptCount val="13"/>
                <c:pt idx="1">
                  <c:v>4.2569691260516011E-2</c:v>
                </c:pt>
                <c:pt idx="6">
                  <c:v>7.527098590609603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E$2:$E$14</c:f>
              <c:numCache>
                <c:formatCode>General</c:formatCode>
                <c:ptCount val="13"/>
                <c:pt idx="1">
                  <c:v>3.4252939304002367E-3</c:v>
                </c:pt>
                <c:pt idx="6">
                  <c:v>5.8828512541319086E-2</c:v>
                </c:pt>
                <c:pt idx="7">
                  <c:v>7.5117066925023662E-3</c:v>
                </c:pt>
                <c:pt idx="9">
                  <c:v>4.2414785673363243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F$2:$F$14</c:f>
              <c:numCache>
                <c:formatCode>General</c:formatCode>
                <c:ptCount val="13"/>
                <c:pt idx="0">
                  <c:v>1.7240477465735825E-3</c:v>
                </c:pt>
                <c:pt idx="1">
                  <c:v>3.7407852573190507E-2</c:v>
                </c:pt>
                <c:pt idx="4">
                  <c:v>6.3036117633228483E-3</c:v>
                </c:pt>
                <c:pt idx="5">
                  <c:v>1.0321417456449752E-5</c:v>
                </c:pt>
                <c:pt idx="6">
                  <c:v>9.8710081696633256E-2</c:v>
                </c:pt>
                <c:pt idx="7">
                  <c:v>0.22986817011716404</c:v>
                </c:pt>
                <c:pt idx="8">
                  <c:v>2.2766989371461347E-4</c:v>
                </c:pt>
                <c:pt idx="10">
                  <c:v>7.2603919829806567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5">
                  <c:v>0.1305</c:v>
                </c:pt>
                <c:pt idx="7">
                  <c:v>0.46929999999999999</c:v>
                </c:pt>
                <c:pt idx="8">
                  <c:v>5.9999999999999995E-4</c:v>
                </c:pt>
                <c:pt idx="9">
                  <c:v>0.39510000000000001</c:v>
                </c:pt>
                <c:pt idx="10">
                  <c:v>4.4999999999999997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2.7122140355978725E-2</c:v>
                </c:pt>
                <c:pt idx="1">
                  <c:v>5.5754557902565078E-3</c:v>
                </c:pt>
                <c:pt idx="2">
                  <c:v>6.814721198565897E-2</c:v>
                </c:pt>
                <c:pt idx="3">
                  <c:v>1.7387101469783731E-2</c:v>
                </c:pt>
                <c:pt idx="4">
                  <c:v>0.11028045551334936</c:v>
                </c:pt>
                <c:pt idx="5">
                  <c:v>2.6923792213839906E-2</c:v>
                </c:pt>
                <c:pt idx="6">
                  <c:v>0.20733639545642582</c:v>
                </c:pt>
                <c:pt idx="7">
                  <c:v>5.1957357396912048E-2</c:v>
                </c:pt>
                <c:pt idx="8">
                  <c:v>0.33084619978805307</c:v>
                </c:pt>
                <c:pt idx="9">
                  <c:v>2.6739845540273522E-2</c:v>
                </c:pt>
                <c:pt idx="10">
                  <c:v>0.12682383401021838</c:v>
                </c:pt>
                <c:pt idx="11">
                  <c:v>8.0540545507086861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5">
                  <c:v>0.47914751728301275</c:v>
                </c:pt>
                <c:pt idx="6">
                  <c:v>1.8221491435368168E-2</c:v>
                </c:pt>
                <c:pt idx="7">
                  <c:v>2.4821357447577314E-2</c:v>
                </c:pt>
                <c:pt idx="9">
                  <c:v>3.191924475174359E-2</c:v>
                </c:pt>
                <c:pt idx="10">
                  <c:v>0.44318587347492583</c:v>
                </c:pt>
                <c:pt idx="11">
                  <c:v>1.7177710038123334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2.7122140355978725E-2</c:v>
                </c:pt>
                <c:pt idx="1">
                  <c:v>5.5754557902565078E-3</c:v>
                </c:pt>
                <c:pt idx="2">
                  <c:v>6.814721198565897E-2</c:v>
                </c:pt>
                <c:pt idx="3">
                  <c:v>1.7387101469783731E-2</c:v>
                </c:pt>
                <c:pt idx="4">
                  <c:v>0.11028045551334936</c:v>
                </c:pt>
                <c:pt idx="5">
                  <c:v>2.6923792213839906E-2</c:v>
                </c:pt>
                <c:pt idx="6">
                  <c:v>0.20733639545642582</c:v>
                </c:pt>
                <c:pt idx="7">
                  <c:v>5.1957357396912048E-2</c:v>
                </c:pt>
                <c:pt idx="8">
                  <c:v>0.33084619978805307</c:v>
                </c:pt>
                <c:pt idx="9">
                  <c:v>2.6739845540273522E-2</c:v>
                </c:pt>
                <c:pt idx="10">
                  <c:v>0.12682383401021838</c:v>
                </c:pt>
                <c:pt idx="11">
                  <c:v>8.0540545507086861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6.3030061277392079E-9</c:v>
                </c:pt>
                <c:pt idx="6">
                  <c:v>1.7290459149053223E-3</c:v>
                </c:pt>
                <c:pt idx="7">
                  <c:v>7.5232166609582722E-6</c:v>
                </c:pt>
                <c:pt idx="8">
                  <c:v>6.2158759436849037E-3</c:v>
                </c:pt>
                <c:pt idx="9">
                  <c:v>5.9200534840067101E-5</c:v>
                </c:pt>
                <c:pt idx="10">
                  <c:v>5.2337543921383923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C$2:$C$14</c:f>
              <c:numCache>
                <c:formatCode>General</c:formatCode>
                <c:ptCount val="13"/>
                <c:pt idx="0">
                  <c:v>1.3548527517377108E-2</c:v>
                </c:pt>
                <c:pt idx="1">
                  <c:v>5.1983998017056778E-3</c:v>
                </c:pt>
                <c:pt idx="2">
                  <c:v>3.7607239544030252E-2</c:v>
                </c:pt>
                <c:pt idx="3">
                  <c:v>1.668666846552146E-2</c:v>
                </c:pt>
                <c:pt idx="4">
                  <c:v>4.5390071882078976E-2</c:v>
                </c:pt>
                <c:pt idx="5">
                  <c:v>2.5987290920216524E-2</c:v>
                </c:pt>
                <c:pt idx="6">
                  <c:v>6.328677525627377E-2</c:v>
                </c:pt>
                <c:pt idx="7">
                  <c:v>5.1067649106249891E-2</c:v>
                </c:pt>
                <c:pt idx="8">
                  <c:v>0.12471537298161155</c:v>
                </c:pt>
                <c:pt idx="9">
                  <c:v>2.6229088256249415E-2</c:v>
                </c:pt>
                <c:pt idx="10">
                  <c:v>4.6830532474668528E-2</c:v>
                </c:pt>
                <c:pt idx="11">
                  <c:v>7.4941932472317042E-4</c:v>
                </c:pt>
                <c:pt idx="12">
                  <c:v>5.5120431750969958E-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D$2:$D$14</c:f>
              <c:numCache>
                <c:formatCode>General</c:formatCode>
                <c:ptCount val="13"/>
                <c:pt idx="0">
                  <c:v>7.3981817416450817E-4</c:v>
                </c:pt>
                <c:pt idx="2">
                  <c:v>3.4063993329637183E-3</c:v>
                </c:pt>
                <c:pt idx="4">
                  <c:v>1.1114941482237012E-2</c:v>
                </c:pt>
                <c:pt idx="5">
                  <c:v>1.1239970741707966E-4</c:v>
                </c:pt>
                <c:pt idx="6">
                  <c:v>1.7698640668190612E-2</c:v>
                </c:pt>
                <c:pt idx="7">
                  <c:v>1.1576950030541404E-9</c:v>
                </c:pt>
                <c:pt idx="8">
                  <c:v>2.0646809654808796E-2</c:v>
                </c:pt>
                <c:pt idx="9">
                  <c:v>1.2503106032984716E-7</c:v>
                </c:pt>
                <c:pt idx="10">
                  <c:v>3.0595317852108615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E$2:$E$14</c:f>
              <c:numCache>
                <c:formatCode>General</c:formatCode>
                <c:ptCount val="13"/>
                <c:pt idx="0">
                  <c:v>2.3342990244914982E-6</c:v>
                </c:pt>
                <c:pt idx="2">
                  <c:v>3.488649575314593E-5</c:v>
                </c:pt>
                <c:pt idx="4">
                  <c:v>3.4841653080366522E-3</c:v>
                </c:pt>
                <c:pt idx="6">
                  <c:v>5.1001587041759507E-3</c:v>
                </c:pt>
                <c:pt idx="8">
                  <c:v>1.6995231744606602E-2</c:v>
                </c:pt>
                <c:pt idx="10">
                  <c:v>1.754320583579222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F$2:$F$14</c:f>
              <c:numCache>
                <c:formatCode>General</c:formatCode>
                <c:ptCount val="13"/>
                <c:pt idx="0">
                  <c:v>1.2831454062406492E-2</c:v>
                </c:pt>
                <c:pt idx="1">
                  <c:v>3.7705598855083066E-4</c:v>
                </c:pt>
                <c:pt idx="2">
                  <c:v>2.7098686612911857E-2</c:v>
                </c:pt>
                <c:pt idx="3">
                  <c:v>7.0043300426227194E-4</c:v>
                </c:pt>
                <c:pt idx="4">
                  <c:v>5.0291276840996733E-2</c:v>
                </c:pt>
                <c:pt idx="5">
                  <c:v>8.2410158620630251E-4</c:v>
                </c:pt>
                <c:pt idx="6">
                  <c:v>0.1195217749128802</c:v>
                </c:pt>
                <c:pt idx="7">
                  <c:v>8.8218391630619729E-4</c:v>
                </c:pt>
                <c:pt idx="8">
                  <c:v>0.16227290946334122</c:v>
                </c:pt>
                <c:pt idx="9">
                  <c:v>4.5143171812370961E-4</c:v>
                </c:pt>
                <c:pt idx="10">
                  <c:v>6.9945694774621356E-2</c:v>
                </c:pt>
                <c:pt idx="11">
                  <c:v>5.5986130347698227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6">
                  <c:v>0.1167</c:v>
                </c:pt>
                <c:pt idx="7">
                  <c:v>2.3999999999999998E-3</c:v>
                </c:pt>
                <c:pt idx="8">
                  <c:v>0.439</c:v>
                </c:pt>
                <c:pt idx="9">
                  <c:v>0.43309999999999998</c:v>
                </c:pt>
                <c:pt idx="10">
                  <c:v>8.8000000000000005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2.8899443980434349E-2</c:v>
                </c:pt>
                <c:pt idx="1">
                  <c:v>5.1803542935656838E-3</c:v>
                </c:pt>
                <c:pt idx="2">
                  <c:v>6.4755866778982929E-2</c:v>
                </c:pt>
                <c:pt idx="3">
                  <c:v>1.8021381861367716E-2</c:v>
                </c:pt>
                <c:pt idx="4">
                  <c:v>0.10461701106794237</c:v>
                </c:pt>
                <c:pt idx="5">
                  <c:v>0.19988749427527719</c:v>
                </c:pt>
                <c:pt idx="6">
                  <c:v>2.5989686419916082E-2</c:v>
                </c:pt>
                <c:pt idx="7">
                  <c:v>0.33208029496481511</c:v>
                </c:pt>
                <c:pt idx="8">
                  <c:v>6.0607765535214686E-2</c:v>
                </c:pt>
                <c:pt idx="9">
                  <c:v>2.9774651562565285E-2</c:v>
                </c:pt>
                <c:pt idx="10">
                  <c:v>0.1298051470768827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B$2:$B$14</c:f>
              <c:numCache>
                <c:formatCode>General</c:formatCode>
                <c:ptCount val="13"/>
                <c:pt idx="0">
                  <c:v>4.0015537298153619E-8</c:v>
                </c:pt>
                <c:pt idx="5">
                  <c:v>1.8658240570478485E-3</c:v>
                </c:pt>
                <c:pt idx="7">
                  <c:v>7.0197631961350414E-3</c:v>
                </c:pt>
                <c:pt idx="8">
                  <c:v>3.9175211014892392E-5</c:v>
                </c:pt>
                <c:pt idx="9">
                  <c:v>1.4107028520473976E-4</c:v>
                </c:pt>
                <c:pt idx="10">
                  <c:v>6.9248504248819124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C$2:$C$14</c:f>
              <c:numCache>
                <c:formatCode>General</c:formatCode>
                <c:ptCount val="13"/>
                <c:pt idx="0">
                  <c:v>1.2640676305699122E-2</c:v>
                </c:pt>
                <c:pt idx="1">
                  <c:v>4.3651030526052704E-3</c:v>
                </c:pt>
                <c:pt idx="2">
                  <c:v>3.1615913429504636E-2</c:v>
                </c:pt>
                <c:pt idx="3">
                  <c:v>1.6805595508143242E-2</c:v>
                </c:pt>
                <c:pt idx="4">
                  <c:v>3.5513323865248886E-2</c:v>
                </c:pt>
                <c:pt idx="5">
                  <c:v>5.1841066893275473E-2</c:v>
                </c:pt>
                <c:pt idx="6">
                  <c:v>2.5008223703317033E-2</c:v>
                </c:pt>
                <c:pt idx="7">
                  <c:v>0.10159808295523856</c:v>
                </c:pt>
                <c:pt idx="8">
                  <c:v>5.9251950934042466E-2</c:v>
                </c:pt>
                <c:pt idx="9">
                  <c:v>2.8765728387656283E-2</c:v>
                </c:pt>
                <c:pt idx="10">
                  <c:v>3.940429996592432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D$2:$D$14</c:f>
              <c:numCache>
                <c:formatCode>General</c:formatCode>
                <c:ptCount val="13"/>
                <c:pt idx="0">
                  <c:v>7.6728159481972904E-4</c:v>
                </c:pt>
                <c:pt idx="2">
                  <c:v>4.5360771938260059E-3</c:v>
                </c:pt>
                <c:pt idx="4">
                  <c:v>1.0256986681167318E-2</c:v>
                </c:pt>
                <c:pt idx="5">
                  <c:v>1.7827923888047128E-2</c:v>
                </c:pt>
                <c:pt idx="7">
                  <c:v>1.9047220175543181E-2</c:v>
                </c:pt>
                <c:pt idx="8">
                  <c:v>7.3497925649669908E-9</c:v>
                </c:pt>
                <c:pt idx="10">
                  <c:v>2.9185740450217504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E$2:$E$14</c:f>
              <c:numCache>
                <c:formatCode>General</c:formatCode>
                <c:ptCount val="13"/>
                <c:pt idx="0">
                  <c:v>2.8901017652686869E-6</c:v>
                </c:pt>
                <c:pt idx="2">
                  <c:v>4.4294749858201065E-6</c:v>
                </c:pt>
                <c:pt idx="4">
                  <c:v>3.5931159572567262E-3</c:v>
                </c:pt>
                <c:pt idx="5">
                  <c:v>5.7723727348812101E-3</c:v>
                </c:pt>
                <c:pt idx="7">
                  <c:v>1.8595720784990021E-2</c:v>
                </c:pt>
                <c:pt idx="10">
                  <c:v>1.7138850619267594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F$2:$F$14</c:f>
              <c:numCache>
                <c:formatCode>General</c:formatCode>
                <c:ptCount val="13"/>
                <c:pt idx="0">
                  <c:v>1.5488555962612928E-2</c:v>
                </c:pt>
                <c:pt idx="1">
                  <c:v>8.1525124096041364E-4</c:v>
                </c:pt>
                <c:pt idx="2">
                  <c:v>2.8599446680666468E-2</c:v>
                </c:pt>
                <c:pt idx="3">
                  <c:v>4.9490462768296675E-2</c:v>
                </c:pt>
                <c:pt idx="4">
                  <c:v>6.9789081491972446E-3</c:v>
                </c:pt>
                <c:pt idx="5">
                  <c:v>2.2324865069751919E-2</c:v>
                </c:pt>
                <c:pt idx="6">
                  <c:v>0.10123690434887267</c:v>
                </c:pt>
                <c:pt idx="7">
                  <c:v>0.18581950785290832</c:v>
                </c:pt>
                <c:pt idx="8">
                  <c:v>1.3166320403647667E-3</c:v>
                </c:pt>
                <c:pt idx="9">
                  <c:v>8.6785288970426394E-4</c:v>
                </c:pt>
                <c:pt idx="10">
                  <c:v>7.884353757912801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6">
                  <c:v>0.16639999999999999</c:v>
                </c:pt>
                <c:pt idx="8">
                  <c:v>0.4284</c:v>
                </c:pt>
                <c:pt idx="9">
                  <c:v>0.4007</c:v>
                </c:pt>
                <c:pt idx="10">
                  <c:v>4.4999999999999997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2.9228917147230055E-2</c:v>
                </c:pt>
                <c:pt idx="1">
                  <c:v>8.8026111166818521E-2</c:v>
                </c:pt>
                <c:pt idx="4">
                  <c:v>0.14262715024337333</c:v>
                </c:pt>
                <c:pt idx="5">
                  <c:v>0.22104468597369087</c:v>
                </c:pt>
                <c:pt idx="6">
                  <c:v>9.693855530901747E-4</c:v>
                </c:pt>
                <c:pt idx="7">
                  <c:v>0.36373832536069917</c:v>
                </c:pt>
                <c:pt idx="8">
                  <c:v>1.866192861775446E-3</c:v>
                </c:pt>
                <c:pt idx="10">
                  <c:v>0.14790646668867971</c:v>
                </c:pt>
                <c:pt idx="11">
                  <c:v>3.8765162308540694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50 GR</c:v>
                </c:pt>
                <c:pt idx="12">
                  <c:v>0-49 GR</c:v>
                </c:pt>
              </c:strCache>
            </c:strRef>
          </c:cat>
          <c:val>
            <c:numRef>
              <c:f>Sheet1!$B$2:$B$14</c:f>
              <c:numCache>
                <c:formatCode>General</c:formatCode>
                <c:ptCount val="13"/>
                <c:pt idx="5">
                  <c:v>2.458112429236194E-3</c:v>
                </c:pt>
                <c:pt idx="7">
                  <c:v>6.3265941733333629E-3</c:v>
                </c:pt>
                <c:pt idx="9">
                  <c:v>6.6999292334229401E-5</c:v>
                </c:pt>
                <c:pt idx="10">
                  <c:v>5.9174584690785967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50 GR</c:v>
                </c:pt>
                <c:pt idx="12">
                  <c:v>0-49 GR</c:v>
                </c:pt>
              </c:strCache>
            </c:strRef>
          </c:cat>
          <c:val>
            <c:numRef>
              <c:f>Sheet1!$C$2:$C$14</c:f>
              <c:numCache>
                <c:formatCode>General</c:formatCode>
                <c:ptCount val="13"/>
                <c:pt idx="0">
                  <c:v>1.4819855950263873E-2</c:v>
                </c:pt>
                <c:pt idx="1">
                  <c:v>5.4048142332021404E-2</c:v>
                </c:pt>
                <c:pt idx="4">
                  <c:v>7.0222121926766898E-2</c:v>
                </c:pt>
                <c:pt idx="5">
                  <c:v>7.2121316719996581E-2</c:v>
                </c:pt>
                <c:pt idx="7">
                  <c:v>0.16867305426458251</c:v>
                </c:pt>
                <c:pt idx="10">
                  <c:v>6.7897128466475332E-2</c:v>
                </c:pt>
                <c:pt idx="11">
                  <c:v>3.8566673254737389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50 GR</c:v>
                </c:pt>
                <c:pt idx="12">
                  <c:v>0-49 GR</c:v>
                </c:pt>
              </c:strCache>
            </c:strRef>
          </c:cat>
          <c:val>
            <c:numRef>
              <c:f>Sheet1!$D$2:$D$14</c:f>
              <c:numCache>
                <c:formatCode>General</c:formatCode>
                <c:ptCount val="13"/>
                <c:pt idx="0">
                  <c:v>1.4398016264472726E-3</c:v>
                </c:pt>
                <c:pt idx="1">
                  <c:v>2.9379442276111951E-3</c:v>
                </c:pt>
                <c:pt idx="4">
                  <c:v>1.719972450037642E-2</c:v>
                </c:pt>
                <c:pt idx="5">
                  <c:v>2.0891965500169651E-2</c:v>
                </c:pt>
                <c:pt idx="7">
                  <c:v>2.8939038293364288E-2</c:v>
                </c:pt>
                <c:pt idx="10">
                  <c:v>4.9940061933018394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50 GR</c:v>
                </c:pt>
                <c:pt idx="12">
                  <c:v>0-49 GR</c:v>
                </c:pt>
              </c:strCache>
            </c:strRef>
          </c:cat>
          <c:val>
            <c:numRef>
              <c:f>Sheet1!$E$2:$E$14</c:f>
              <c:numCache>
                <c:formatCode>General</c:formatCode>
                <c:ptCount val="13"/>
                <c:pt idx="4">
                  <c:v>3.115289109907726E-3</c:v>
                </c:pt>
                <c:pt idx="5">
                  <c:v>4.9656900984377814E-3</c:v>
                </c:pt>
                <c:pt idx="7">
                  <c:v>1.5775445462554726E-2</c:v>
                </c:pt>
                <c:pt idx="10">
                  <c:v>1.8930154572441191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50 GR</c:v>
                </c:pt>
                <c:pt idx="12">
                  <c:v>0-49 GR</c:v>
                </c:pt>
              </c:strCache>
            </c:strRef>
          </c:cat>
          <c:val>
            <c:numRef>
              <c:f>Sheet1!$F$2:$F$14</c:f>
              <c:numCache>
                <c:formatCode>General</c:formatCode>
                <c:ptCount val="13"/>
                <c:pt idx="0">
                  <c:v>1.2969259570518912E-2</c:v>
                </c:pt>
                <c:pt idx="1">
                  <c:v>4.4591827808904174E-6</c:v>
                </c:pt>
                <c:pt idx="2">
                  <c:v>3.1040024607185926E-2</c:v>
                </c:pt>
                <c:pt idx="3">
                  <c:v>2.4870601706095271E-4</c:v>
                </c:pt>
                <c:pt idx="4">
                  <c:v>5.2090014706322289E-2</c:v>
                </c:pt>
                <c:pt idx="5">
                  <c:v>9.693855530901747E-4</c:v>
                </c:pt>
                <c:pt idx="6">
                  <c:v>0.12060760122585067</c:v>
                </c:pt>
                <c:pt idx="7">
                  <c:v>1.866192861775446E-3</c:v>
                </c:pt>
                <c:pt idx="8">
                  <c:v>0.14402419316686427</c:v>
                </c:pt>
                <c:pt idx="9">
                  <c:v>3.8087005584982911E-4</c:v>
                </c:pt>
                <c:pt idx="10">
                  <c:v>6.7204858102579812E-2</c:v>
                </c:pt>
                <c:pt idx="11">
                  <c:v>1.9848905380330576E-5</c:v>
                </c:pt>
                <c:pt idx="12">
                  <c:v>1.5214225762779877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5">
                  <c:v>0.16439999999999999</c:v>
                </c:pt>
                <c:pt idx="7">
                  <c:v>0.55930000000000002</c:v>
                </c:pt>
                <c:pt idx="9">
                  <c:v>3.7000000000000002E-3</c:v>
                </c:pt>
                <c:pt idx="10">
                  <c:v>0.2726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4.8554906966759353E-3</c:v>
                </c:pt>
                <c:pt idx="1">
                  <c:v>2.8441740379247186E-2</c:v>
                </c:pt>
                <c:pt idx="2">
                  <c:v>9.7613213628071141E-3</c:v>
                </c:pt>
                <c:pt idx="3">
                  <c:v>3.0379211598501585E-2</c:v>
                </c:pt>
                <c:pt idx="4">
                  <c:v>9.7600513763922508E-2</c:v>
                </c:pt>
                <c:pt idx="5">
                  <c:v>4.6255803376908433E-2</c:v>
                </c:pt>
                <c:pt idx="6">
                  <c:v>0.21170893053512191</c:v>
                </c:pt>
                <c:pt idx="7">
                  <c:v>9.0787088002621835E-2</c:v>
                </c:pt>
                <c:pt idx="8">
                  <c:v>0.32083983687169554</c:v>
                </c:pt>
                <c:pt idx="9">
                  <c:v>0.11338747694483581</c:v>
                </c:pt>
                <c:pt idx="10">
                  <c:v>4.5216353372256775E-2</c:v>
                </c:pt>
                <c:pt idx="11">
                  <c:v>7.565813878529791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C$2:$C$14</c:f>
              <c:numCache>
                <c:formatCode>General</c:formatCode>
                <c:ptCount val="13"/>
                <c:pt idx="5">
                  <c:v>0.47884875674368316</c:v>
                </c:pt>
                <c:pt idx="6">
                  <c:v>1.8192671495240512E-2</c:v>
                </c:pt>
                <c:pt idx="10">
                  <c:v>0.1067353439492462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D$2:$D$14</c:f>
              <c:numCache>
                <c:formatCode>General</c:formatCode>
                <c:ptCount val="13"/>
                <c:pt idx="10">
                  <c:v>0.1451477701234958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E$2:$E$14</c:f>
              <c:numCache>
                <c:formatCode>General</c:formatCode>
                <c:ptCount val="13"/>
                <c:pt idx="9">
                  <c:v>7.3340075682900804E-4</c:v>
                </c:pt>
                <c:pt idx="10">
                  <c:v>8.643750143114342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F$2:$F$14</c:f>
              <c:numCache>
                <c:formatCode>General</c:formatCode>
                <c:ptCount val="13"/>
                <c:pt idx="5">
                  <c:v>2.987605393295879E-4</c:v>
                </c:pt>
                <c:pt idx="6">
                  <c:v>2.8819940127654717E-5</c:v>
                </c:pt>
                <c:pt idx="7">
                  <c:v>2.4821357447577318E-2</c:v>
                </c:pt>
                <c:pt idx="8">
                  <c:v>1.9749423133449203E-4</c:v>
                </c:pt>
                <c:pt idx="9">
                  <c:v>3.1185843994914586E-2</c:v>
                </c:pt>
                <c:pt idx="10">
                  <c:v>0.10486525797104031</c:v>
                </c:pt>
                <c:pt idx="11">
                  <c:v>4.3635450294777795E-4</c:v>
                </c:pt>
                <c:pt idx="12">
                  <c:v>1.7177710038123334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50 GR</c:v>
                </c:pt>
                <c:pt idx="10">
                  <c:v>50-149 GR</c:v>
                </c:pt>
                <c:pt idx="11">
                  <c:v>0-50 GR</c:v>
                </c:pt>
                <c:pt idx="12">
                  <c:v>0-49 GR</c:v>
                </c:pt>
              </c:strCache>
            </c:strRef>
          </c:cat>
          <c:val>
            <c:numRef>
              <c:f>Sheet1!$B$2:$B$14</c:f>
              <c:numCache>
                <c:formatCode>General</c:formatCode>
                <c:ptCount val="13"/>
                <c:pt idx="6">
                  <c:v>3.02759702440282E-3</c:v>
                </c:pt>
                <c:pt idx="8">
                  <c:v>1.0300165534904381E-2</c:v>
                </c:pt>
                <c:pt idx="9">
                  <c:v>5.0197147788495914E-3</c:v>
                </c:pt>
                <c:pt idx="10">
                  <c:v>6.8875095034413004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50 GR</c:v>
                </c:pt>
                <c:pt idx="10">
                  <c:v>50-149 GR</c:v>
                </c:pt>
                <c:pt idx="11">
                  <c:v>0-50 GR</c:v>
                </c:pt>
                <c:pt idx="12">
                  <c:v>0-49 GR</c:v>
                </c:pt>
              </c:strCache>
            </c:strRef>
          </c:cat>
          <c:val>
            <c:numRef>
              <c:f>Sheet1!$C$2:$C$14</c:f>
              <c:numCache>
                <c:formatCode>General</c:formatCode>
                <c:ptCount val="13"/>
                <c:pt idx="0">
                  <c:v>2.7611550728347245E-4</c:v>
                </c:pt>
                <c:pt idx="1">
                  <c:v>7.9772084810755019E-3</c:v>
                </c:pt>
                <c:pt idx="2">
                  <c:v>9.1025111800817175E-3</c:v>
                </c:pt>
                <c:pt idx="3">
                  <c:v>2.9218719617503913E-2</c:v>
                </c:pt>
                <c:pt idx="4">
                  <c:v>2.5242062493065983E-2</c:v>
                </c:pt>
                <c:pt idx="5">
                  <c:v>4.550431193531735E-2</c:v>
                </c:pt>
                <c:pt idx="6">
                  <c:v>3.8440410950062252E-2</c:v>
                </c:pt>
                <c:pt idx="7">
                  <c:v>8.9420564916458931E-2</c:v>
                </c:pt>
                <c:pt idx="8">
                  <c:v>7.2827084907111039E-2</c:v>
                </c:pt>
                <c:pt idx="9">
                  <c:v>3.3491213482292545E-2</c:v>
                </c:pt>
                <c:pt idx="10">
                  <c:v>4.4421245564443664E-2</c:v>
                </c:pt>
                <c:pt idx="11">
                  <c:v>6.8357811620611787E-4</c:v>
                </c:pt>
                <c:pt idx="12">
                  <c:v>9.6517075523800295E-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50 GR</c:v>
                </c:pt>
                <c:pt idx="10">
                  <c:v>50-149 GR</c:v>
                </c:pt>
                <c:pt idx="11">
                  <c:v>0-50 GR</c:v>
                </c:pt>
                <c:pt idx="12">
                  <c:v>0-49 GR</c:v>
                </c:pt>
              </c:strCache>
            </c:strRef>
          </c:cat>
          <c:val>
            <c:numRef>
              <c:f>Sheet1!$D$2:$D$14</c:f>
              <c:numCache>
                <c:formatCode>General</c:formatCode>
                <c:ptCount val="13"/>
                <c:pt idx="0">
                  <c:v>4.0874083907736199E-6</c:v>
                </c:pt>
                <c:pt idx="1">
                  <c:v>6.1087013261790571E-5</c:v>
                </c:pt>
                <c:pt idx="4">
                  <c:v>6.1008492765890002E-3</c:v>
                </c:pt>
                <c:pt idx="6">
                  <c:v>8.930488880389718E-3</c:v>
                </c:pt>
                <c:pt idx="8">
                  <c:v>2.8507312797848364E-2</c:v>
                </c:pt>
                <c:pt idx="9">
                  <c:v>1.6102269562598566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price Des Dieux</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50 GR</c:v>
                </c:pt>
                <c:pt idx="10">
                  <c:v>50-149 GR</c:v>
                </c:pt>
                <c:pt idx="11">
                  <c:v>0-50 GR</c:v>
                </c:pt>
                <c:pt idx="12">
                  <c:v>0-49 GR</c:v>
                </c:pt>
              </c:strCache>
            </c:strRef>
          </c:cat>
          <c:val>
            <c:numRef>
              <c:f>Sheet1!$E$2:$E$14</c:f>
              <c:numCache>
                <c:formatCode>General</c:formatCode>
                <c:ptCount val="13"/>
                <c:pt idx="6">
                  <c:v>2.2803205664553128E-2</c:v>
                </c:pt>
                <c:pt idx="8">
                  <c:v>1.8656379279979648E-2</c:v>
                </c:pt>
                <c:pt idx="9">
                  <c:v>8.1899640904291218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49 GR</c:v>
                </c:pt>
                <c:pt idx="8">
                  <c:v>150-250 GR</c:v>
                </c:pt>
                <c:pt idx="9">
                  <c:v>50-150 GR</c:v>
                </c:pt>
                <c:pt idx="10">
                  <c:v>50-149 GR</c:v>
                </c:pt>
                <c:pt idx="11">
                  <c:v>0-50 GR</c:v>
                </c:pt>
                <c:pt idx="12">
                  <c:v>0-49 GR</c:v>
                </c:pt>
              </c:strCache>
            </c:strRef>
          </c:cat>
          <c:val>
            <c:numRef>
              <c:f>Sheet1!$F$2:$F$14</c:f>
              <c:numCache>
                <c:formatCode>General</c:formatCode>
                <c:ptCount val="13"/>
                <c:pt idx="0">
                  <c:v>4.5752877810016886E-3</c:v>
                </c:pt>
                <c:pt idx="1">
                  <c:v>2.8782619022145774E-3</c:v>
                </c:pt>
                <c:pt idx="2">
                  <c:v>1.8183993165420714E-2</c:v>
                </c:pt>
                <c:pt idx="3">
                  <c:v>1.1604919809976725E-3</c:v>
                </c:pt>
                <c:pt idx="4">
                  <c:v>6.6257601994267515E-2</c:v>
                </c:pt>
                <c:pt idx="5">
                  <c:v>0.11197025035380448</c:v>
                </c:pt>
                <c:pt idx="6">
                  <c:v>2.7288469103500596E-2</c:v>
                </c:pt>
                <c:pt idx="7">
                  <c:v>1.3665230861629129E-3</c:v>
                </c:pt>
                <c:pt idx="8">
                  <c:v>0.19054889435185213</c:v>
                </c:pt>
                <c:pt idx="9">
                  <c:v>2.0561428951540596E-2</c:v>
                </c:pt>
                <c:pt idx="10">
                  <c:v>5.2612129079629012E-2</c:v>
                </c:pt>
                <c:pt idx="11">
                  <c:v>7.3003271646861288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6">
                  <c:v>0.14829999999999999</c:v>
                </c:pt>
                <c:pt idx="7">
                  <c:v>0.53320000000000001</c:v>
                </c:pt>
                <c:pt idx="9">
                  <c:v>0.31059999999999999</c:v>
                </c:pt>
                <c:pt idx="10">
                  <c:v>7.7999999999999996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4.3734167837544734E-3</c:v>
                </c:pt>
                <c:pt idx="1">
                  <c:v>3.204776445831363E-2</c:v>
                </c:pt>
                <c:pt idx="2">
                  <c:v>8.4053595938634509E-3</c:v>
                </c:pt>
                <c:pt idx="3">
                  <c:v>9.5440009926194599E-2</c:v>
                </c:pt>
                <c:pt idx="4">
                  <c:v>2.9240642403088886E-2</c:v>
                </c:pt>
                <c:pt idx="5">
                  <c:v>0.1994191602003694</c:v>
                </c:pt>
                <c:pt idx="6">
                  <c:v>4.1250137374282493E-2</c:v>
                </c:pt>
                <c:pt idx="7">
                  <c:v>9.8233775504279225E-2</c:v>
                </c:pt>
                <c:pt idx="8">
                  <c:v>0.32526788548230701</c:v>
                </c:pt>
                <c:pt idx="9">
                  <c:v>4.6418593159612741E-2</c:v>
                </c:pt>
                <c:pt idx="10">
                  <c:v>0.1196734866057987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50 GR</c:v>
                </c:pt>
                <c:pt idx="6">
                  <c:v>250-349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5">
                  <c:v>3.0273979242497469E-3</c:v>
                </c:pt>
                <c:pt idx="8">
                  <c:v>1.0885058477386517E-2</c:v>
                </c:pt>
                <c:pt idx="9">
                  <c:v>1.5944559595474709E-4</c:v>
                </c:pt>
                <c:pt idx="10">
                  <c:v>6.3411107516699369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50 GR</c:v>
                </c:pt>
                <c:pt idx="6">
                  <c:v>250-349 GR</c:v>
                </c:pt>
                <c:pt idx="7">
                  <c:v>150-249 GR</c:v>
                </c:pt>
                <c:pt idx="8">
                  <c:v>150-250 GR</c:v>
                </c:pt>
                <c:pt idx="9">
                  <c:v>50-149 GR</c:v>
                </c:pt>
                <c:pt idx="10">
                  <c:v>50-150 GR</c:v>
                </c:pt>
                <c:pt idx="11">
                  <c:v>0-49 GR</c:v>
                </c:pt>
                <c:pt idx="12">
                  <c:v>0-50 GR</c:v>
                </c:pt>
              </c:strCache>
            </c:strRef>
          </c:cat>
          <c:val>
            <c:numRef>
              <c:f>Sheet1!$C$2:$C$14</c:f>
              <c:numCache>
                <c:formatCode>General</c:formatCode>
                <c:ptCount val="13"/>
                <c:pt idx="0">
                  <c:v>3.340444332363107E-6</c:v>
                </c:pt>
                <c:pt idx="1">
                  <c:v>4.4328080554185681E-3</c:v>
                </c:pt>
                <c:pt idx="2">
                  <c:v>7.082609890614427E-3</c:v>
                </c:pt>
                <c:pt idx="3">
                  <c:v>1.7375072748411328E-2</c:v>
                </c:pt>
                <c:pt idx="4">
                  <c:v>2.7267964932145252E-2</c:v>
                </c:pt>
                <c:pt idx="5">
                  <c:v>2.7520520279306199E-2</c:v>
                </c:pt>
                <c:pt idx="6">
                  <c:v>4.057716173323718E-2</c:v>
                </c:pt>
                <c:pt idx="7">
                  <c:v>9.6139414961390376E-2</c:v>
                </c:pt>
                <c:pt idx="8">
                  <c:v>5.8361703259306383E-2</c:v>
                </c:pt>
                <c:pt idx="9">
                  <c:v>4.4998575706619255E-2</c:v>
                </c:pt>
                <c:pt idx="10">
                  <c:v>2.515623434373758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50 GR</c:v>
                </c:pt>
                <c:pt idx="6">
                  <c:v>250-349 GR</c:v>
                </c:pt>
                <c:pt idx="7">
                  <c:v>150-249 GR</c:v>
                </c:pt>
                <c:pt idx="8">
                  <c:v>150-250 GR</c:v>
                </c:pt>
                <c:pt idx="9">
                  <c:v>50-149 GR</c:v>
                </c:pt>
                <c:pt idx="10">
                  <c:v>50-150 GR</c:v>
                </c:pt>
                <c:pt idx="11">
                  <c:v>0-49 GR</c:v>
                </c:pt>
                <c:pt idx="12">
                  <c:v>0-50 GR</c:v>
                </c:pt>
              </c:strCache>
            </c:strRef>
          </c:cat>
          <c:val>
            <c:numRef>
              <c:f>Sheet1!$D$2:$D$14</c:f>
              <c:numCache>
                <c:formatCode>General</c:formatCode>
                <c:ptCount val="13"/>
                <c:pt idx="0">
                  <c:v>4.6893425197275038E-6</c:v>
                </c:pt>
                <c:pt idx="1">
                  <c:v>7.1870567468216954E-6</c:v>
                </c:pt>
                <c:pt idx="3">
                  <c:v>5.8300201187237114E-3</c:v>
                </c:pt>
                <c:pt idx="5">
                  <c:v>9.365979160556542E-3</c:v>
                </c:pt>
                <c:pt idx="8">
                  <c:v>2.8995553697662518E-2</c:v>
                </c:pt>
                <c:pt idx="10">
                  <c:v>1.3883103953064068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50 GR</c:v>
                </c:pt>
                <c:pt idx="6">
                  <c:v>250-349 GR</c:v>
                </c:pt>
                <c:pt idx="7">
                  <c:v>150-249 GR</c:v>
                </c:pt>
                <c:pt idx="8">
                  <c:v>150-250 GR</c:v>
                </c:pt>
                <c:pt idx="9">
                  <c:v>50-149 GR</c:v>
                </c:pt>
                <c:pt idx="10">
                  <c:v>50-150 GR</c:v>
                </c:pt>
                <c:pt idx="11">
                  <c:v>0-49 GR</c:v>
                </c:pt>
                <c:pt idx="12">
                  <c:v>0-50 GR</c:v>
                </c:pt>
              </c:strCache>
            </c:strRef>
          </c:cat>
          <c:val>
            <c:numRef>
              <c:f>Sheet1!$E$2:$E$14</c:f>
              <c:numCache>
                <c:formatCode>General</c:formatCode>
                <c:ptCount val="13"/>
                <c:pt idx="1">
                  <c:v>2.2930487407266894E-3</c:v>
                </c:pt>
                <c:pt idx="3">
                  <c:v>6.7667782330022063E-3</c:v>
                </c:pt>
                <c:pt idx="5">
                  <c:v>6.7024789860080569E-3</c:v>
                </c:pt>
                <c:pt idx="8">
                  <c:v>2.525681206172568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50 GR</c:v>
                </c:pt>
                <c:pt idx="6">
                  <c:v>250-349 GR</c:v>
                </c:pt>
                <c:pt idx="7">
                  <c:v>150-249 GR</c:v>
                </c:pt>
                <c:pt idx="8">
                  <c:v>150-250 GR</c:v>
                </c:pt>
                <c:pt idx="9">
                  <c:v>50-149 GR</c:v>
                </c:pt>
                <c:pt idx="10">
                  <c:v>50-150 GR</c:v>
                </c:pt>
                <c:pt idx="11">
                  <c:v>0-49 GR</c:v>
                </c:pt>
                <c:pt idx="12">
                  <c:v>0-50 GR</c:v>
                </c:pt>
              </c:strCache>
            </c:strRef>
          </c:cat>
          <c:val>
            <c:numRef>
              <c:f>Sheet1!$F$2:$F$14</c:f>
              <c:numCache>
                <c:formatCode>General</c:formatCode>
                <c:ptCount val="13"/>
                <c:pt idx="0">
                  <c:v>4.3653869969023842E-3</c:v>
                </c:pt>
                <c:pt idx="1">
                  <c:v>2.604116853168404E-3</c:v>
                </c:pt>
                <c:pt idx="2">
                  <c:v>2.4033353455502171E-2</c:v>
                </c:pt>
                <c:pt idx="3">
                  <c:v>6.5468138826057357E-2</c:v>
                </c:pt>
                <c:pt idx="4">
                  <c:v>1.9726774709436334E-3</c:v>
                </c:pt>
                <c:pt idx="5">
                  <c:v>3.0762187633009908E-2</c:v>
                </c:pt>
                <c:pt idx="6">
                  <c:v>0.12271357185828428</c:v>
                </c:pt>
                <c:pt idx="7">
                  <c:v>0.16823858754618221</c:v>
                </c:pt>
                <c:pt idx="8">
                  <c:v>3.562453098293257E-2</c:v>
                </c:pt>
                <c:pt idx="9">
                  <c:v>1.2605718570387349E-3</c:v>
                </c:pt>
                <c:pt idx="10">
                  <c:v>8.67878311150848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6">
                  <c:v>0.21890000000000001</c:v>
                </c:pt>
                <c:pt idx="8">
                  <c:v>0.51859999999999995</c:v>
                </c:pt>
                <c:pt idx="9">
                  <c:v>0.25950000000000001</c:v>
                </c:pt>
                <c:pt idx="10">
                  <c:v>2.8999999999999998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7.2960365324271645E-3</c:v>
                </c:pt>
                <c:pt idx="1">
                  <c:v>3.6114911038373609E-2</c:v>
                </c:pt>
                <c:pt idx="4">
                  <c:v>0.13704769360926553</c:v>
                </c:pt>
                <c:pt idx="5">
                  <c:v>0.26434531785433935</c:v>
                </c:pt>
                <c:pt idx="6">
                  <c:v>1.1162341815090673E-3</c:v>
                </c:pt>
                <c:pt idx="7">
                  <c:v>0.40059200559975933</c:v>
                </c:pt>
                <c:pt idx="8">
                  <c:v>3.3359109177129491E-3</c:v>
                </c:pt>
                <c:pt idx="9">
                  <c:v>8.6189692849985005E-4</c:v>
                </c:pt>
                <c:pt idx="10">
                  <c:v>0.14397146372186226</c:v>
                </c:pt>
                <c:pt idx="12">
                  <c:v>5.2192045553033015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B$2:$B$14</c:f>
              <c:numCache>
                <c:formatCode>General</c:formatCode>
                <c:ptCount val="13"/>
                <c:pt idx="5">
                  <c:v>6.0152603360252395E-3</c:v>
                </c:pt>
                <c:pt idx="7">
                  <c:v>1.4249279373871063E-2</c:v>
                </c:pt>
                <c:pt idx="9">
                  <c:v>7.9994177853760345E-5</c:v>
                </c:pt>
                <c:pt idx="10">
                  <c:v>7.1301522399890294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C$2:$C$14</c:f>
              <c:numCache>
                <c:formatCode>General</c:formatCode>
                <c:ptCount val="13"/>
                <c:pt idx="1">
                  <c:v>1.5760678673748484E-2</c:v>
                </c:pt>
                <c:pt idx="4">
                  <c:v>4.6103620658581278E-2</c:v>
                </c:pt>
                <c:pt idx="5">
                  <c:v>6.1193146650079411E-2</c:v>
                </c:pt>
                <c:pt idx="7">
                  <c:v>0.13350723489422542</c:v>
                </c:pt>
                <c:pt idx="10">
                  <c:v>6.8489508319683992E-2</c:v>
                </c:pt>
                <c:pt idx="12">
                  <c:v>5.1706321906597038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D$2:$D$14</c:f>
              <c:numCache>
                <c:formatCode>General</c:formatCode>
                <c:ptCount val="13"/>
                <c:pt idx="4">
                  <c:v>7.623440976579801E-3</c:v>
                </c:pt>
                <c:pt idx="5">
                  <c:v>1.2151567330631614E-2</c:v>
                </c:pt>
                <c:pt idx="7">
                  <c:v>3.6291109308011986E-2</c:v>
                </c:pt>
                <c:pt idx="10">
                  <c:v>1.5148575771281414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E$2:$E$14</c:f>
              <c:numCache>
                <c:formatCode>General</c:formatCode>
                <c:ptCount val="13"/>
                <c:pt idx="1">
                  <c:v>3.2742217890776816E-3</c:v>
                </c:pt>
                <c:pt idx="4">
                  <c:v>1.4514827774046012E-2</c:v>
                </c:pt>
                <c:pt idx="5">
                  <c:v>2.8338852061674934E-2</c:v>
                </c:pt>
                <c:pt idx="7">
                  <c:v>2.0127270966473928E-2</c:v>
                </c:pt>
                <c:pt idx="10">
                  <c:v>2.03721392512039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F$2:$F$14</c:f>
              <c:numCache>
                <c:formatCode>General</c:formatCode>
                <c:ptCount val="13"/>
                <c:pt idx="0">
                  <c:v>7.2960365324271645E-3</c:v>
                </c:pt>
                <c:pt idx="1">
                  <c:v>1.708001057554745E-2</c:v>
                </c:pt>
                <c:pt idx="3">
                  <c:v>9.9325060947528981E-5</c:v>
                </c:pt>
                <c:pt idx="4">
                  <c:v>6.8805804200058426E-2</c:v>
                </c:pt>
                <c:pt idx="5">
                  <c:v>1.1162341815090673E-3</c:v>
                </c:pt>
                <c:pt idx="6">
                  <c:v>0.15664649147592818</c:v>
                </c:pt>
                <c:pt idx="7">
                  <c:v>0.19641711105717699</c:v>
                </c:pt>
                <c:pt idx="8">
                  <c:v>3.3359109177129496E-3</c:v>
                </c:pt>
                <c:pt idx="9">
                  <c:v>7.8190275064608968E-4</c:v>
                </c:pt>
                <c:pt idx="10">
                  <c:v>6.4799731659940726E-2</c:v>
                </c:pt>
                <c:pt idx="11">
                  <c:v>4.857236464359783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9">
                  <c:v>0.99160000000000004</c:v>
                </c:pt>
                <c:pt idx="10">
                  <c:v>8.3999999999999995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5">
                  <c:v>0.47914751728301275</c:v>
                </c:pt>
                <c:pt idx="6">
                  <c:v>1.8221491435368168E-2</c:v>
                </c:pt>
                <c:pt idx="7">
                  <c:v>2.4821357447577314E-2</c:v>
                </c:pt>
                <c:pt idx="9">
                  <c:v>3.191924475174359E-2</c:v>
                </c:pt>
                <c:pt idx="10">
                  <c:v>0.44318587347492583</c:v>
                </c:pt>
                <c:pt idx="11">
                  <c:v>1.7177710038123334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B$2:$B$14</c:f>
              <c:numCache>
                <c:formatCode>General</c:formatCode>
                <c:ptCount val="13"/>
                <c:pt idx="9">
                  <c:v>7.3340075682900804E-4</c:v>
                </c:pt>
                <c:pt idx="10">
                  <c:v>8.6437501431143426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C$2:$C$14</c:f>
              <c:numCache>
                <c:formatCode>General</c:formatCode>
                <c:ptCount val="13"/>
                <c:pt idx="5">
                  <c:v>0.47884875674368316</c:v>
                </c:pt>
                <c:pt idx="6">
                  <c:v>1.8192671495240512E-2</c:v>
                </c:pt>
                <c:pt idx="10">
                  <c:v>0.1067353439492462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D$2:$D$14</c:f>
              <c:numCache>
                <c:formatCode>General</c:formatCode>
                <c:ptCount val="13"/>
                <c:pt idx="10">
                  <c:v>0.1451477701234958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E$2:$E$14</c:f>
              <c:numCache>
                <c:formatCode>General</c:formatCode>
                <c:ptCount val="13"/>
                <c:pt idx="10">
                  <c:v>4.841081797505316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F$2:$F$14</c:f>
              <c:numCache>
                <c:formatCode>General</c:formatCode>
                <c:ptCount val="13"/>
                <c:pt idx="5">
                  <c:v>2.987605393295879E-4</c:v>
                </c:pt>
                <c:pt idx="6">
                  <c:v>2.8819940127654717E-5</c:v>
                </c:pt>
                <c:pt idx="7">
                  <c:v>2.4821357447577318E-2</c:v>
                </c:pt>
                <c:pt idx="8">
                  <c:v>1.9749423133449203E-4</c:v>
                </c:pt>
                <c:pt idx="9">
                  <c:v>3.1185843994914586E-2</c:v>
                </c:pt>
                <c:pt idx="10">
                  <c:v>5.6454439995987149E-2</c:v>
                </c:pt>
                <c:pt idx="11">
                  <c:v>4.3635450294777795E-4</c:v>
                </c:pt>
                <c:pt idx="12">
                  <c:v>1.7177710038123334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9">
                  <c:v>0.98580000000000001</c:v>
                </c:pt>
                <c:pt idx="10">
                  <c:v>1.4200000000000001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5">
                  <c:v>0.46945324985376724</c:v>
                </c:pt>
                <c:pt idx="6">
                  <c:v>1.7951669769388317E-2</c:v>
                </c:pt>
                <c:pt idx="7">
                  <c:v>1.9052357072915777E-2</c:v>
                </c:pt>
                <c:pt idx="9">
                  <c:v>3.4069438447435908E-2</c:v>
                </c:pt>
                <c:pt idx="10">
                  <c:v>0.45200352226145757</c:v>
                </c:pt>
                <c:pt idx="11">
                  <c:v>7.4527147212684278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B$2:$B$14</c:f>
              <c:numCache>
                <c:formatCode>General</c:formatCode>
                <c:ptCount val="13"/>
                <c:pt idx="9">
                  <c:v>1.3558621545661643E-3</c:v>
                </c:pt>
                <c:pt idx="10">
                  <c:v>9.3832350898946801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C$2:$C$14</c:f>
              <c:numCache>
                <c:formatCode>General</c:formatCode>
                <c:ptCount val="13"/>
                <c:pt idx="5">
                  <c:v>0.4689919483590671</c:v>
                </c:pt>
                <c:pt idx="6">
                  <c:v>1.7951669769388317E-2</c:v>
                </c:pt>
                <c:pt idx="10">
                  <c:v>0.1245526711651150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D$2:$D$14</c:f>
              <c:numCache>
                <c:formatCode>General</c:formatCode>
                <c:ptCount val="13"/>
                <c:pt idx="10">
                  <c:v>0.1478521218277793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E$2:$E$14</c:f>
              <c:numCache>
                <c:formatCode>General</c:formatCode>
                <c:ptCount val="13"/>
                <c:pt idx="9">
                  <c:v>3.2708091999639796E-2</c:v>
                </c:pt>
                <c:pt idx="10">
                  <c:v>2.255262961900692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F$2:$F$14</c:f>
              <c:numCache>
                <c:formatCode>General</c:formatCode>
                <c:ptCount val="13"/>
                <c:pt idx="5">
                  <c:v>4.6130149470014202E-4</c:v>
                </c:pt>
                <c:pt idx="7">
                  <c:v>1.402116476713083E-5</c:v>
                </c:pt>
                <c:pt idx="8">
                  <c:v>1.9052357072915773E-2</c:v>
                </c:pt>
                <c:pt idx="9">
                  <c:v>6.321374875060945E-2</c:v>
                </c:pt>
                <c:pt idx="10">
                  <c:v>5.4842932299478528E-6</c:v>
                </c:pt>
                <c:pt idx="11">
                  <c:v>3.0267089995466923E-6</c:v>
                </c:pt>
                <c:pt idx="12">
                  <c:v>7.4527147212684278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9">
                  <c:v>0.98870000000000002</c:v>
                </c:pt>
                <c:pt idx="10">
                  <c:v>1.1299999999999999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5">
                  <c:v>0.49944007839767784</c:v>
                </c:pt>
                <c:pt idx="6">
                  <c:v>1.6155373871998238E-2</c:v>
                </c:pt>
                <c:pt idx="7">
                  <c:v>3.1881979303787146E-2</c:v>
                </c:pt>
                <c:pt idx="9">
                  <c:v>1.2662711277150168E-3</c:v>
                </c:pt>
                <c:pt idx="10">
                  <c:v>0.4512544092596991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B$2:$B$14</c:f>
              <c:numCache>
                <c:formatCode>General</c:formatCode>
                <c:ptCount val="13"/>
                <c:pt idx="9">
                  <c:v>1.2662711277150168E-3</c:v>
                </c:pt>
                <c:pt idx="10">
                  <c:v>0.11085873447412328</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C$2:$C$14</c:f>
              <c:numCache>
                <c:formatCode>General</c:formatCode>
                <c:ptCount val="13"/>
                <c:pt idx="5">
                  <c:v>0.49943703655686905</c:v>
                </c:pt>
                <c:pt idx="6">
                  <c:v>1.6018569703900136E-2</c:v>
                </c:pt>
                <c:pt idx="10">
                  <c:v>9.477725635556580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D$2:$D$14</c:f>
              <c:numCache>
                <c:formatCode>General</c:formatCode>
                <c:ptCount val="13"/>
                <c:pt idx="10">
                  <c:v>0.1240487593445808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E$2:$E$14</c:f>
              <c:numCache>
                <c:formatCode>General</c:formatCode>
                <c:ptCount val="13"/>
                <c:pt idx="10">
                  <c:v>6.997631533588884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F$2:$F$14</c:f>
              <c:numCache>
                <c:formatCode>General</c:formatCode>
                <c:ptCount val="13"/>
                <c:pt idx="5">
                  <c:v>3.0418408087751233E-6</c:v>
                </c:pt>
                <c:pt idx="6">
                  <c:v>1.3680416809810187E-4</c:v>
                </c:pt>
                <c:pt idx="8">
                  <c:v>3.1881979303787146E-2</c:v>
                </c:pt>
                <c:pt idx="9">
                  <c:v>5.159334374954028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7">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3150243301704233E-3</c:v>
                </c:pt>
                <c:pt idx="1">
                  <c:v>3.1961258290724277E-2</c:v>
                </c:pt>
                <c:pt idx="3">
                  <c:v>2.0730484529548742E-3</c:v>
                </c:pt>
                <c:pt idx="4">
                  <c:v>2.3475277936841061E-3</c:v>
                </c:pt>
                <c:pt idx="5">
                  <c:v>0.38162748586160972</c:v>
                </c:pt>
                <c:pt idx="8">
                  <c:v>0.56629855976839949</c:v>
                </c:pt>
                <c:pt idx="10">
                  <c:v>1.4377095502457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0">
                  <c:v>3.4870333667960441E-7</c:v>
                </c:pt>
                <c:pt idx="8">
                  <c:v>1.8450420156920201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C$2:$C$14</c:f>
              <c:numCache>
                <c:formatCode>General</c:formatCode>
                <c:ptCount val="13"/>
                <c:pt idx="0">
                  <c:v>1.060342799291042E-6</c:v>
                </c:pt>
                <c:pt idx="4">
                  <c:v>1.1867228514562073E-3</c:v>
                </c:pt>
                <c:pt idx="5">
                  <c:v>0.23688913526795938</c:v>
                </c:pt>
                <c:pt idx="8">
                  <c:v>0.31052419263186432</c:v>
                </c:pt>
                <c:pt idx="10">
                  <c:v>1.1288238647781405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D$2:$D$14</c:f>
              <c:numCache>
                <c:formatCode>General</c:formatCode>
                <c:ptCount val="13"/>
                <c:pt idx="0">
                  <c:v>1.6011887908757345E-6</c:v>
                </c:pt>
                <c:pt idx="5">
                  <c:v>8.9076694338482518E-2</c:v>
                </c:pt>
                <c:pt idx="8">
                  <c:v>0.1543302400216156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Vache Qui Ri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E$2:$E$14</c:f>
              <c:numCache>
                <c:formatCode>General</c:formatCode>
                <c:ptCount val="13"/>
                <c:pt idx="0">
                  <c:v>1.1172739562999571E-6</c:v>
                </c:pt>
                <c:pt idx="5">
                  <c:v>5.1615494878992614E-3</c:v>
                </c:pt>
                <c:pt idx="8">
                  <c:v>3.683558297511893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F$2:$F$14</c:f>
              <c:numCache>
                <c:formatCode>General</c:formatCode>
                <c:ptCount val="13"/>
                <c:pt idx="0">
                  <c:v>1.3108968212872771E-3</c:v>
                </c:pt>
                <c:pt idx="1">
                  <c:v>3.1961258290724277E-2</c:v>
                </c:pt>
                <c:pt idx="3">
                  <c:v>1.1608049422278987E-3</c:v>
                </c:pt>
                <c:pt idx="4">
                  <c:v>2.0730484529548742E-3</c:v>
                </c:pt>
                <c:pt idx="5">
                  <c:v>5.0500106767268578E-2</c:v>
                </c:pt>
                <c:pt idx="8">
                  <c:v>4.6158123982880404E-2</c:v>
                </c:pt>
                <c:pt idx="10">
                  <c:v>1.324827163767895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8">
                  <c:v>0.9999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5">
                  <c:v>0.46945324985376724</c:v>
                </c:pt>
                <c:pt idx="6">
                  <c:v>1.7951669769388317E-2</c:v>
                </c:pt>
                <c:pt idx="7">
                  <c:v>1.9052357072915777E-2</c:v>
                </c:pt>
                <c:pt idx="9">
                  <c:v>3.4069438447435908E-2</c:v>
                </c:pt>
                <c:pt idx="10">
                  <c:v>0.45200352226145757</c:v>
                </c:pt>
                <c:pt idx="11">
                  <c:v>7.4527147212684278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7.1338356994032058E-4</c:v>
                </c:pt>
                <c:pt idx="1">
                  <c:v>1.9618191826917E-2</c:v>
                </c:pt>
                <c:pt idx="4">
                  <c:v>7.402755160323117E-4</c:v>
                </c:pt>
                <c:pt idx="6">
                  <c:v>0.32972950609608243</c:v>
                </c:pt>
                <c:pt idx="7">
                  <c:v>0.64555949613227182</c:v>
                </c:pt>
                <c:pt idx="9">
                  <c:v>3.639146858756374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B$2:$B$14</c:f>
              <c:numCache>
                <c:formatCode>General</c:formatCode>
                <c:ptCount val="13"/>
                <c:pt idx="0">
                  <c:v>2.8156097404007821E-6</c:v>
                </c:pt>
                <c:pt idx="7">
                  <c:v>2.1894296264203028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C$2:$C$14</c:f>
              <c:numCache>
                <c:formatCode>General</c:formatCode>
                <c:ptCount val="13"/>
                <c:pt idx="6">
                  <c:v>0.23728694740785775</c:v>
                </c:pt>
                <c:pt idx="7">
                  <c:v>0.2735284991421009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D$2:$D$14</c:f>
              <c:numCache>
                <c:formatCode>General</c:formatCode>
                <c:ptCount val="13"/>
                <c:pt idx="0">
                  <c:v>1.2928820236534203E-5</c:v>
                </c:pt>
                <c:pt idx="6">
                  <c:v>5.3712525096276616E-2</c:v>
                </c:pt>
                <c:pt idx="7">
                  <c:v>0.2029274871315142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Vache Qui Ri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E$2:$E$14</c:f>
              <c:numCache>
                <c:formatCode>General</c:formatCode>
                <c:ptCount val="13"/>
                <c:pt idx="6">
                  <c:v>2.9982796049871918E-3</c:v>
                </c:pt>
                <c:pt idx="7">
                  <c:v>9.269665310194001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F$2:$F$14</c:f>
              <c:numCache>
                <c:formatCode>General</c:formatCode>
                <c:ptCount val="13"/>
                <c:pt idx="0">
                  <c:v>6.9763913996338551E-4</c:v>
                </c:pt>
                <c:pt idx="1">
                  <c:v>1.9618191826917E-2</c:v>
                </c:pt>
                <c:pt idx="4">
                  <c:v>7.402755160323117E-4</c:v>
                </c:pt>
                <c:pt idx="6">
                  <c:v>3.5731753986960851E-2</c:v>
                </c:pt>
                <c:pt idx="7">
                  <c:v>5.4512560492513351E-2</c:v>
                </c:pt>
                <c:pt idx="9">
                  <c:v>3.639146858756374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7">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8809060429939978E-3</c:v>
                </c:pt>
                <c:pt idx="1">
                  <c:v>4.8549042425449891E-2</c:v>
                </c:pt>
                <c:pt idx="3">
                  <c:v>8.2437754753488194E-3</c:v>
                </c:pt>
                <c:pt idx="4">
                  <c:v>2.2353924353407596E-3</c:v>
                </c:pt>
                <c:pt idx="5">
                  <c:v>0.47110126521021412</c:v>
                </c:pt>
                <c:pt idx="8">
                  <c:v>0.45221803035632874</c:v>
                </c:pt>
                <c:pt idx="10">
                  <c:v>1.577158805432363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8">
                  <c:v>2.0061875223393498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C$2:$C$14</c:f>
              <c:numCache>
                <c:formatCode>General</c:formatCode>
                <c:ptCount val="13"/>
                <c:pt idx="5">
                  <c:v>0.25417928023357728</c:v>
                </c:pt>
                <c:pt idx="8">
                  <c:v>0.2016954275330594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D$2:$D$14</c:f>
              <c:numCache>
                <c:formatCode>General</c:formatCode>
                <c:ptCount val="13"/>
                <c:pt idx="5">
                  <c:v>0.16411194593106165</c:v>
                </c:pt>
                <c:pt idx="8">
                  <c:v>0.1974017726583621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E$2:$E$14</c:f>
              <c:numCache>
                <c:formatCode>General</c:formatCode>
                <c:ptCount val="13"/>
                <c:pt idx="1">
                  <c:v>3.340101761310043E-2</c:v>
                </c:pt>
                <c:pt idx="5">
                  <c:v>2.4217029666656571E-2</c:v>
                </c:pt>
                <c:pt idx="8">
                  <c:v>9.5220603113627799E-3</c:v>
                </c:pt>
                <c:pt idx="10">
                  <c:v>4.0924132384225218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F$2:$F$14</c:f>
              <c:numCache>
                <c:formatCode>General</c:formatCode>
                <c:ptCount val="13"/>
                <c:pt idx="0">
                  <c:v>1.8809060429939978E-3</c:v>
                </c:pt>
                <c:pt idx="1">
                  <c:v>1.5148024812349462E-2</c:v>
                </c:pt>
                <c:pt idx="3">
                  <c:v>2.2353924353407596E-3</c:v>
                </c:pt>
                <c:pt idx="4">
                  <c:v>8.2437754753488194E-3</c:v>
                </c:pt>
                <c:pt idx="5">
                  <c:v>2.8593009378918673E-2</c:v>
                </c:pt>
                <c:pt idx="8">
                  <c:v>2.3536894630150927E-2</c:v>
                </c:pt>
                <c:pt idx="10">
                  <c:v>1.167917481590111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1.094197216483182E-2</c:v>
                </c:pt>
                <c:pt idx="2">
                  <c:v>9.6880276114732294E-2</c:v>
                </c:pt>
                <c:pt idx="3">
                  <c:v>5.3446014819036151E-2</c:v>
                </c:pt>
                <c:pt idx="4">
                  <c:v>0.17693155055074417</c:v>
                </c:pt>
                <c:pt idx="5">
                  <c:v>2.2104341013370931E-3</c:v>
                </c:pt>
                <c:pt idx="6">
                  <c:v>0.15056949109524098</c:v>
                </c:pt>
                <c:pt idx="7">
                  <c:v>4.2047893689314997E-2</c:v>
                </c:pt>
                <c:pt idx="8">
                  <c:v>0.29352518203765332</c:v>
                </c:pt>
                <c:pt idx="9">
                  <c:v>0.16639940016881108</c:v>
                </c:pt>
                <c:pt idx="10">
                  <c:v>6.693498475671169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50 GR</c:v>
                </c:pt>
                <c:pt idx="10">
                  <c:v>50-149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La Vache Qui Ri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50 GR</c:v>
                </c:pt>
                <c:pt idx="10">
                  <c:v>50-149 GR</c:v>
                </c:pt>
                <c:pt idx="11">
                  <c:v>0-49 GR</c:v>
                </c:pt>
                <c:pt idx="12">
                  <c:v>0-50 GR</c:v>
                </c:pt>
              </c:strCache>
            </c:strRef>
          </c:cat>
          <c:val>
            <c:numRef>
              <c:f>Sheet1!$C$2:$C$14</c:f>
              <c:numCache>
                <c:formatCode>General</c:formatCode>
                <c:ptCount val="13"/>
                <c:pt idx="2">
                  <c:v>9.318942391174119E-2</c:v>
                </c:pt>
                <c:pt idx="4">
                  <c:v>5.5137933884248834E-2</c:v>
                </c:pt>
                <c:pt idx="5">
                  <c:v>5.3555300874040423E-8</c:v>
                </c:pt>
                <c:pt idx="6">
                  <c:v>3.4736632971327265E-2</c:v>
                </c:pt>
                <c:pt idx="8">
                  <c:v>6.7670136525075128E-2</c:v>
                </c:pt>
                <c:pt idx="9">
                  <c:v>1.347819054832375E-2</c:v>
                </c:pt>
                <c:pt idx="10">
                  <c:v>9.7876929183591113E-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Mini Baby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50 GR</c:v>
                </c:pt>
                <c:pt idx="10">
                  <c:v>50-149 GR</c:v>
                </c:pt>
                <c:pt idx="11">
                  <c:v>0-49 GR</c:v>
                </c:pt>
                <c:pt idx="12">
                  <c:v>0-50 GR</c:v>
                </c:pt>
              </c:strCache>
            </c:strRef>
          </c:cat>
          <c:val>
            <c:numRef>
              <c:f>Sheet1!$D$2:$D$14</c:f>
              <c:numCache>
                <c:formatCode>General</c:formatCode>
                <c:ptCount val="13"/>
                <c:pt idx="1">
                  <c:v>5.4007990905187101E-3</c:v>
                </c:pt>
                <c:pt idx="2">
                  <c:v>4.9861831848244531E-8</c:v>
                </c:pt>
                <c:pt idx="3">
                  <c:v>6.9032062600178079E-3</c:v>
                </c:pt>
                <c:pt idx="4">
                  <c:v>2.8129901470010092E-2</c:v>
                </c:pt>
                <c:pt idx="6">
                  <c:v>8.9897595634951935E-2</c:v>
                </c:pt>
                <c:pt idx="7">
                  <c:v>2.9386052132417788E-3</c:v>
                </c:pt>
                <c:pt idx="8">
                  <c:v>4.1592608996177706E-2</c:v>
                </c:pt>
                <c:pt idx="9">
                  <c:v>7.0429619570972879E-2</c:v>
                </c:pt>
                <c:pt idx="10">
                  <c:v>1.3940352480787078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Kir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50 GR</c:v>
                </c:pt>
                <c:pt idx="10">
                  <c:v>50-149 GR</c:v>
                </c:pt>
                <c:pt idx="11">
                  <c:v>0-49 GR</c:v>
                </c:pt>
                <c:pt idx="12">
                  <c:v>0-50 GR</c:v>
                </c:pt>
              </c:strCache>
            </c:strRef>
          </c:cat>
          <c:val>
            <c:numRef>
              <c:f>Sheet1!$E$2:$E$14</c:f>
              <c:numCache>
                <c:formatCode>General</c:formatCode>
                <c:ptCount val="13"/>
                <c:pt idx="4">
                  <c:v>5.2332068254325133E-2</c:v>
                </c:pt>
                <c:pt idx="6">
                  <c:v>2.4515348950153868E-2</c:v>
                </c:pt>
                <c:pt idx="7">
                  <c:v>8.7165869008783035E-7</c:v>
                </c:pt>
                <c:pt idx="8">
                  <c:v>8.5178876856365007E-2</c:v>
                </c:pt>
                <c:pt idx="9">
                  <c:v>3.96119252888557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50 GR</c:v>
                </c:pt>
                <c:pt idx="10">
                  <c:v>50-149 GR</c:v>
                </c:pt>
                <c:pt idx="11">
                  <c:v>0-49 GR</c:v>
                </c:pt>
                <c:pt idx="12">
                  <c:v>0-50 GR</c:v>
                </c:pt>
              </c:strCache>
            </c:strRef>
          </c:cat>
          <c:val>
            <c:numRef>
              <c:f>Sheet1!$F$2:$F$14</c:f>
              <c:numCache>
                <c:formatCode>General</c:formatCode>
                <c:ptCount val="13"/>
                <c:pt idx="1">
                  <c:v>3.6908023411592666E-3</c:v>
                </c:pt>
                <c:pt idx="2">
                  <c:v>5.5411730743131085E-3</c:v>
                </c:pt>
                <c:pt idx="3">
                  <c:v>4.6542808559018344E-2</c:v>
                </c:pt>
                <c:pt idx="4">
                  <c:v>4.1331646942160093E-2</c:v>
                </c:pt>
                <c:pt idx="5">
                  <c:v>2.2103805460362189E-3</c:v>
                </c:pt>
                <c:pt idx="6">
                  <c:v>1.4199135388079465E-3</c:v>
                </c:pt>
                <c:pt idx="7">
                  <c:v>3.9108416817383133E-2</c:v>
                </c:pt>
                <c:pt idx="8">
                  <c:v>9.9083559660035458E-2</c:v>
                </c:pt>
                <c:pt idx="9">
                  <c:v>5.2993653506632774E-3</c:v>
                </c:pt>
                <c:pt idx="10">
                  <c:v>4.287966476065874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0.14696565929531613</c:v>
                </c:pt>
                <c:pt idx="2">
                  <c:v>2.3476306319308922E-2</c:v>
                </c:pt>
                <c:pt idx="3">
                  <c:v>3.295751999351379E-2</c:v>
                </c:pt>
                <c:pt idx="4">
                  <c:v>0.1841801727141622</c:v>
                </c:pt>
                <c:pt idx="5">
                  <c:v>0.12209728666031888</c:v>
                </c:pt>
                <c:pt idx="6">
                  <c:v>5.5769791123886107E-3</c:v>
                </c:pt>
                <c:pt idx="7">
                  <c:v>2.6064665698349303E-2</c:v>
                </c:pt>
                <c:pt idx="8">
                  <c:v>0.24034269525849561</c:v>
                </c:pt>
                <c:pt idx="9">
                  <c:v>0.20465369274072781</c:v>
                </c:pt>
                <c:pt idx="10">
                  <c:v>1.3002154197850399E-2</c:v>
                </c:pt>
                <c:pt idx="11">
                  <c:v>6.8194524330137752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C$2:$C$14</c:f>
              <c:numCache>
                <c:formatCode>General</c:formatCode>
                <c:ptCount val="13"/>
                <c:pt idx="5">
                  <c:v>0.4689919483590671</c:v>
                </c:pt>
                <c:pt idx="6">
                  <c:v>1.7951669769388317E-2</c:v>
                </c:pt>
                <c:pt idx="10">
                  <c:v>0.1245526711651150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D$2:$D$14</c:f>
              <c:numCache>
                <c:formatCode>General</c:formatCode>
                <c:ptCount val="13"/>
                <c:pt idx="10">
                  <c:v>0.1478521218277793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E$2:$E$14</c:f>
              <c:numCache>
                <c:formatCode>General</c:formatCode>
                <c:ptCount val="13"/>
                <c:pt idx="9">
                  <c:v>1.3558621545661643E-3</c:v>
                </c:pt>
                <c:pt idx="10">
                  <c:v>9.383235089894680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F$2:$F$14</c:f>
              <c:numCache>
                <c:formatCode>General</c:formatCode>
                <c:ptCount val="13"/>
                <c:pt idx="5">
                  <c:v>4.6130149470014202E-4</c:v>
                </c:pt>
                <c:pt idx="7">
                  <c:v>1.402116476713083E-5</c:v>
                </c:pt>
                <c:pt idx="8">
                  <c:v>1.9052357072915773E-2</c:v>
                </c:pt>
                <c:pt idx="9">
                  <c:v>8.576637836961637E-2</c:v>
                </c:pt>
                <c:pt idx="10">
                  <c:v>3.2713576292869744E-2</c:v>
                </c:pt>
                <c:pt idx="11">
                  <c:v>3.0267089995466923E-6</c:v>
                </c:pt>
                <c:pt idx="12">
                  <c:v>7.4527147212684278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50 GR</c:v>
                </c:pt>
                <c:pt idx="10">
                  <c:v>50-149 GR</c:v>
                </c:pt>
                <c:pt idx="11">
                  <c:v>0-50 GR</c:v>
                </c:pt>
                <c:pt idx="12">
                  <c:v>0-49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La Vache Qui Ri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50 GR</c:v>
                </c:pt>
                <c:pt idx="10">
                  <c:v>50-149 GR</c:v>
                </c:pt>
                <c:pt idx="11">
                  <c:v>0-50 GR</c:v>
                </c:pt>
                <c:pt idx="12">
                  <c:v>0-49 GR</c:v>
                </c:pt>
              </c:strCache>
            </c:strRef>
          </c:cat>
          <c:val>
            <c:numRef>
              <c:f>Sheet1!$C$2:$C$14</c:f>
              <c:numCache>
                <c:formatCode>General</c:formatCode>
                <c:ptCount val="13"/>
                <c:pt idx="1">
                  <c:v>0.13883172631490734</c:v>
                </c:pt>
                <c:pt idx="4">
                  <c:v>6.85733513406976E-2</c:v>
                </c:pt>
                <c:pt idx="5">
                  <c:v>8.5199533734594043E-3</c:v>
                </c:pt>
                <c:pt idx="8">
                  <c:v>8.5279185241007888E-2</c:v>
                </c:pt>
                <c:pt idx="9">
                  <c:v>1.8039325530002339E-2</c:v>
                </c:pt>
                <c:pt idx="11">
                  <c:v>2.4653588300363943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Mini Baby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50 GR</c:v>
                </c:pt>
                <c:pt idx="10">
                  <c:v>50-149 GR</c:v>
                </c:pt>
                <c:pt idx="11">
                  <c:v>0-50 GR</c:v>
                </c:pt>
                <c:pt idx="12">
                  <c:v>0-49 GR</c:v>
                </c:pt>
              </c:strCache>
            </c:strRef>
          </c:cat>
          <c:val>
            <c:numRef>
              <c:f>Sheet1!$D$2:$D$14</c:f>
              <c:numCache>
                <c:formatCode>General</c:formatCode>
                <c:ptCount val="13"/>
                <c:pt idx="2">
                  <c:v>1.0467504009943729E-2</c:v>
                </c:pt>
                <c:pt idx="3">
                  <c:v>1.5609031818113373E-2</c:v>
                </c:pt>
                <c:pt idx="4">
                  <c:v>2.7036516839205084E-2</c:v>
                </c:pt>
                <c:pt idx="5">
                  <c:v>9.0446099607501371E-2</c:v>
                </c:pt>
                <c:pt idx="7">
                  <c:v>2.7920705184692296E-3</c:v>
                </c:pt>
                <c:pt idx="8">
                  <c:v>5.8561788240493193E-3</c:v>
                </c:pt>
                <c:pt idx="9">
                  <c:v>8.253358858726037E-2</c:v>
                </c:pt>
                <c:pt idx="10">
                  <c:v>1.9504971969506602E-3</c:v>
                </c:pt>
                <c:pt idx="11">
                  <c:v>4.3540936029773809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Kir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50 GR</c:v>
                </c:pt>
                <c:pt idx="10">
                  <c:v>50-149 GR</c:v>
                </c:pt>
                <c:pt idx="11">
                  <c:v>0-50 GR</c:v>
                </c:pt>
                <c:pt idx="12">
                  <c:v>0-49 GR</c:v>
                </c:pt>
              </c:strCache>
            </c:strRef>
          </c:cat>
          <c:val>
            <c:numRef>
              <c:f>Sheet1!$E$2:$E$14</c:f>
              <c:numCache>
                <c:formatCode>General</c:formatCode>
                <c:ptCount val="13"/>
                <c:pt idx="4">
                  <c:v>7.8700417513986307E-2</c:v>
                </c:pt>
                <c:pt idx="5">
                  <c:v>1.932140439824797E-2</c:v>
                </c:pt>
                <c:pt idx="8">
                  <c:v>7.1782763875395186E-2</c:v>
                </c:pt>
                <c:pt idx="9">
                  <c:v>5.28471806365719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50 GR</c:v>
                </c:pt>
                <c:pt idx="10">
                  <c:v>50-149 GR</c:v>
                </c:pt>
                <c:pt idx="11">
                  <c:v>0-50 GR</c:v>
                </c:pt>
                <c:pt idx="12">
                  <c:v>0-49 GR</c:v>
                </c:pt>
              </c:strCache>
            </c:strRef>
          </c:cat>
          <c:val>
            <c:numRef>
              <c:f>Sheet1!$F$2:$F$14</c:f>
              <c:numCache>
                <c:formatCode>General</c:formatCode>
                <c:ptCount val="13"/>
                <c:pt idx="1">
                  <c:v>8.1339329804087906E-3</c:v>
                </c:pt>
                <c:pt idx="2">
                  <c:v>1.3008802309365193E-2</c:v>
                </c:pt>
                <c:pt idx="3">
                  <c:v>1.7348488175400419E-2</c:v>
                </c:pt>
                <c:pt idx="4">
                  <c:v>9.8698870202732179E-3</c:v>
                </c:pt>
                <c:pt idx="5">
                  <c:v>5.5769791123886107E-3</c:v>
                </c:pt>
                <c:pt idx="6">
                  <c:v>3.8098292811101315E-3</c:v>
                </c:pt>
                <c:pt idx="7">
                  <c:v>2.3272595179880073E-2</c:v>
                </c:pt>
                <c:pt idx="8">
                  <c:v>7.7424567318043175E-2</c:v>
                </c:pt>
                <c:pt idx="9">
                  <c:v>1.105165700089974E-2</c:v>
                </c:pt>
                <c:pt idx="10">
                  <c:v>5.123359798689311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9.9025390559011175E-2</c:v>
                </c:pt>
                <c:pt idx="3">
                  <c:v>0.19501182742892956</c:v>
                </c:pt>
                <c:pt idx="5">
                  <c:v>0.19221661010637114</c:v>
                </c:pt>
                <c:pt idx="7">
                  <c:v>4.4553653201097635E-3</c:v>
                </c:pt>
                <c:pt idx="8">
                  <c:v>0.32620737314256526</c:v>
                </c:pt>
                <c:pt idx="9">
                  <c:v>0.18163460063555481</c:v>
                </c:pt>
                <c:pt idx="10">
                  <c:v>1.0718808459023585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C$2:$C$14</c:f>
              <c:numCache>
                <c:formatCode>General</c:formatCode>
                <c:ptCount val="13"/>
                <c:pt idx="3">
                  <c:v>2.8448886650238012E-2</c:v>
                </c:pt>
                <c:pt idx="5">
                  <c:v>0.13057577620431085</c:v>
                </c:pt>
                <c:pt idx="7">
                  <c:v>4.4553653201097635E-3</c:v>
                </c:pt>
                <c:pt idx="8">
                  <c:v>7.6933220278372159E-3</c:v>
                </c:pt>
                <c:pt idx="9">
                  <c:v>8.090207106212588E-2</c:v>
                </c:pt>
                <c:pt idx="10">
                  <c:v>1.0718808459023585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Vache Qui Ri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D$2:$D$14</c:f>
              <c:numCache>
                <c:formatCode>General</c:formatCode>
                <c:ptCount val="13"/>
                <c:pt idx="2">
                  <c:v>9.9025390559011175E-2</c:v>
                </c:pt>
                <c:pt idx="3">
                  <c:v>6.450832288352E-2</c:v>
                </c:pt>
                <c:pt idx="5">
                  <c:v>2.7784252533189901E-2</c:v>
                </c:pt>
                <c:pt idx="8">
                  <c:v>9.8743693851477465E-2</c:v>
                </c:pt>
                <c:pt idx="9">
                  <c:v>6.0214131500869192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Kir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E$2:$E$14</c:f>
              <c:numCache>
                <c:formatCode>General</c:formatCode>
                <c:ptCount val="13"/>
                <c:pt idx="3">
                  <c:v>5.2604146335066902E-2</c:v>
                </c:pt>
                <c:pt idx="5">
                  <c:v>3.3856581368870375E-2</c:v>
                </c:pt>
                <c:pt idx="8">
                  <c:v>8.5025244020544052E-2</c:v>
                </c:pt>
                <c:pt idx="9">
                  <c:v>4.373994730233104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F$2:$F$14</c:f>
              <c:numCache>
                <c:formatCode>General</c:formatCode>
                <c:ptCount val="13"/>
                <c:pt idx="3">
                  <c:v>4.9450471560104646E-2</c:v>
                </c:pt>
                <c:pt idx="7">
                  <c:v>0.13474511324270647</c:v>
                </c:pt>
                <c:pt idx="10">
                  <c:v>5.097116912101097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6">
                  <c:v>0.1923</c:v>
                </c:pt>
                <c:pt idx="8">
                  <c:v>0.65429999999999999</c:v>
                </c:pt>
                <c:pt idx="10">
                  <c:v>0.1534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3.0312546756316075E-2</c:v>
                </c:pt>
                <c:pt idx="3">
                  <c:v>4.1137278657995359E-2</c:v>
                </c:pt>
                <c:pt idx="5">
                  <c:v>0.26441736817554373</c:v>
                </c:pt>
                <c:pt idx="6">
                  <c:v>4.9131473718148973E-2</c:v>
                </c:pt>
                <c:pt idx="7">
                  <c:v>0.49270407647915671</c:v>
                </c:pt>
                <c:pt idx="8">
                  <c:v>5.9502162452361049E-2</c:v>
                </c:pt>
                <c:pt idx="9">
                  <c:v>5.8546804951692615E-2</c:v>
                </c:pt>
                <c:pt idx="10">
                  <c:v>4.2312884841799936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50 GR</c:v>
                </c:pt>
                <c:pt idx="8">
                  <c:v>150-249 GR</c:v>
                </c:pt>
                <c:pt idx="9">
                  <c:v>50-150 GR</c:v>
                </c:pt>
                <c:pt idx="10">
                  <c:v>50-149 GR</c:v>
                </c:pt>
                <c:pt idx="11">
                  <c:v>0-49 GR</c:v>
                </c:pt>
                <c:pt idx="12">
                  <c:v>0-50 GR</c:v>
                </c:pt>
              </c:strCache>
            </c:strRef>
          </c:cat>
          <c:val>
            <c:numRef>
              <c:f>Sheet1!$B$2:$B$14</c:f>
              <c:numCache>
                <c:formatCode>General</c:formatCode>
                <c:ptCount val="13"/>
                <c:pt idx="5">
                  <c:v>2.0110324760778144E-2</c:v>
                </c:pt>
                <c:pt idx="7">
                  <c:v>6.8417187732425735E-2</c:v>
                </c:pt>
                <c:pt idx="9">
                  <c:v>1.6040954531526964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50 GR</c:v>
                </c:pt>
                <c:pt idx="8">
                  <c:v>150-249 GR</c:v>
                </c:pt>
                <c:pt idx="9">
                  <c:v>50-150 GR</c:v>
                </c:pt>
                <c:pt idx="10">
                  <c:v>50-149 GR</c:v>
                </c:pt>
                <c:pt idx="11">
                  <c:v>0-49 GR</c:v>
                </c:pt>
                <c:pt idx="12">
                  <c:v>0-50 GR</c:v>
                </c:pt>
              </c:strCache>
            </c:strRef>
          </c:cat>
          <c:val>
            <c:numRef>
              <c:f>Sheet1!$C$2:$C$14</c:f>
              <c:numCache>
                <c:formatCode>General</c:formatCode>
                <c:ptCount val="13"/>
                <c:pt idx="2">
                  <c:v>1.3257302858749631E-2</c:v>
                </c:pt>
                <c:pt idx="3">
                  <c:v>4.1117522494445613E-2</c:v>
                </c:pt>
                <c:pt idx="5">
                  <c:v>8.3971777085328436E-2</c:v>
                </c:pt>
                <c:pt idx="7">
                  <c:v>0.14385126804842238</c:v>
                </c:pt>
                <c:pt idx="9">
                  <c:v>3.5308251402805055E-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aysan Bret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50 GR</c:v>
                </c:pt>
                <c:pt idx="8">
                  <c:v>150-249 GR</c:v>
                </c:pt>
                <c:pt idx="9">
                  <c:v>50-150 GR</c:v>
                </c:pt>
                <c:pt idx="10">
                  <c:v>50-149 GR</c:v>
                </c:pt>
                <c:pt idx="11">
                  <c:v>0-49 GR</c:v>
                </c:pt>
                <c:pt idx="12">
                  <c:v>0-50 GR</c:v>
                </c:pt>
              </c:strCache>
            </c:strRef>
          </c:cat>
          <c:val>
            <c:numRef>
              <c:f>Sheet1!$D$2:$D$14</c:f>
              <c:numCache>
                <c:formatCode>General</c:formatCode>
                <c:ptCount val="13"/>
                <c:pt idx="2">
                  <c:v>1.3674589538061579E-2</c:v>
                </c:pt>
                <c:pt idx="5">
                  <c:v>4.214852642763222E-2</c:v>
                </c:pt>
                <c:pt idx="7">
                  <c:v>7.749675245625217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rre Fra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50 GR</c:v>
                </c:pt>
                <c:pt idx="8">
                  <c:v>150-249 GR</c:v>
                </c:pt>
                <c:pt idx="9">
                  <c:v>50-150 GR</c:v>
                </c:pt>
                <c:pt idx="10">
                  <c:v>50-149 GR</c:v>
                </c:pt>
                <c:pt idx="11">
                  <c:v>0-49 GR</c:v>
                </c:pt>
                <c:pt idx="12">
                  <c:v>0-50 GR</c:v>
                </c:pt>
              </c:strCache>
            </c:strRef>
          </c:cat>
          <c:val>
            <c:numRef>
              <c:f>Sheet1!$E$2:$E$14</c:f>
              <c:numCache>
                <c:formatCode>General</c:formatCode>
                <c:ptCount val="13"/>
                <c:pt idx="5">
                  <c:v>1.2533307163735113E-3</c:v>
                </c:pt>
                <c:pt idx="7">
                  <c:v>5.992954190556975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50 GR</c:v>
                </c:pt>
                <c:pt idx="8">
                  <c:v>150-249 GR</c:v>
                </c:pt>
                <c:pt idx="9">
                  <c:v>50-150 GR</c:v>
                </c:pt>
                <c:pt idx="10">
                  <c:v>50-149 GR</c:v>
                </c:pt>
                <c:pt idx="11">
                  <c:v>0-49 GR</c:v>
                </c:pt>
                <c:pt idx="12">
                  <c:v>0-50 GR</c:v>
                </c:pt>
              </c:strCache>
            </c:strRef>
          </c:cat>
          <c:val>
            <c:numRef>
              <c:f>Sheet1!$F$2:$F$14</c:f>
              <c:numCache>
                <c:formatCode>General</c:formatCode>
                <c:ptCount val="13"/>
                <c:pt idx="2">
                  <c:v>3.3806543595048637E-3</c:v>
                </c:pt>
                <c:pt idx="3">
                  <c:v>1.9756163549747491E-5</c:v>
                </c:pt>
                <c:pt idx="5">
                  <c:v>0.11693340918543144</c:v>
                </c:pt>
                <c:pt idx="6">
                  <c:v>4.9131473718148973E-2</c:v>
                </c:pt>
                <c:pt idx="7">
                  <c:v>5.9502162452361049E-2</c:v>
                </c:pt>
                <c:pt idx="8">
                  <c:v>0.14300932633648666</c:v>
                </c:pt>
                <c:pt idx="9">
                  <c:v>4.2312884841799936E-3</c:v>
                </c:pt>
                <c:pt idx="10">
                  <c:v>4.250549733765161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6">
                  <c:v>0.18709999999999999</c:v>
                </c:pt>
                <c:pt idx="7">
                  <c:v>0.67290000000000005</c:v>
                </c:pt>
                <c:pt idx="10">
                  <c:v>0.1400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4.0866662464118811E-2</c:v>
                </c:pt>
                <c:pt idx="3">
                  <c:v>4.5633021875691224E-2</c:v>
                </c:pt>
                <c:pt idx="5">
                  <c:v>0.22192560355519467</c:v>
                </c:pt>
                <c:pt idx="6">
                  <c:v>3.8701355527194066E-2</c:v>
                </c:pt>
                <c:pt idx="7">
                  <c:v>4.9817374574832686E-2</c:v>
                </c:pt>
                <c:pt idx="8">
                  <c:v>0.54405836650955963</c:v>
                </c:pt>
                <c:pt idx="9">
                  <c:v>5.870398517248189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5">
                  <c:v>2.0414795047385217E-2</c:v>
                </c:pt>
                <c:pt idx="8">
                  <c:v>7.3401727640319561E-2</c:v>
                </c:pt>
                <c:pt idx="9">
                  <c:v>1.5271064113262924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C$2:$C$14</c:f>
              <c:numCache>
                <c:formatCode>General</c:formatCode>
                <c:ptCount val="13"/>
                <c:pt idx="2">
                  <c:v>1.5462823601955515E-2</c:v>
                </c:pt>
                <c:pt idx="3">
                  <c:v>4.5630734450636229E-2</c:v>
                </c:pt>
                <c:pt idx="5">
                  <c:v>4.5197142309156488E-2</c:v>
                </c:pt>
                <c:pt idx="8">
                  <c:v>0.1703154506582534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aysan Bret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D$2:$D$14</c:f>
              <c:numCache>
                <c:formatCode>General</c:formatCode>
                <c:ptCount val="13"/>
                <c:pt idx="2">
                  <c:v>1.6435649394388581E-2</c:v>
                </c:pt>
                <c:pt idx="5">
                  <c:v>3.6146301740761742E-2</c:v>
                </c:pt>
                <c:pt idx="8">
                  <c:v>9.11722235831110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rre Fra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E$2:$E$14</c:f>
              <c:numCache>
                <c:formatCode>General</c:formatCode>
                <c:ptCount val="13"/>
                <c:pt idx="5">
                  <c:v>3.9535818909562138E-4</c:v>
                </c:pt>
                <c:pt idx="8">
                  <c:v>7.219671926955012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F$2:$F$14</c:f>
              <c:numCache>
                <c:formatCode>General</c:formatCode>
                <c:ptCount val="13"/>
                <c:pt idx="2">
                  <c:v>8.9681894677747162E-3</c:v>
                </c:pt>
                <c:pt idx="3">
                  <c:v>2.2874250549976061E-6</c:v>
                </c:pt>
                <c:pt idx="5">
                  <c:v>0.11977200626879558</c:v>
                </c:pt>
                <c:pt idx="6">
                  <c:v>3.8701355527194066E-2</c:v>
                </c:pt>
                <c:pt idx="7">
                  <c:v>4.9817374574832686E-2</c:v>
                </c:pt>
                <c:pt idx="8">
                  <c:v>0.13697224535832536</c:v>
                </c:pt>
                <c:pt idx="9">
                  <c:v>2.8347093699140257E-4</c:v>
                </c:pt>
                <c:pt idx="10">
                  <c:v>4.343292105921897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6">
                  <c:v>0.247</c:v>
                </c:pt>
                <c:pt idx="7">
                  <c:v>0.58509999999999995</c:v>
                </c:pt>
                <c:pt idx="10">
                  <c:v>0.1678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1.4730354873988525E-2</c:v>
                </c:pt>
                <c:pt idx="3">
                  <c:v>6.8172638867039656E-2</c:v>
                </c:pt>
                <c:pt idx="5">
                  <c:v>0.30914313265850801</c:v>
                </c:pt>
                <c:pt idx="8">
                  <c:v>0.54860475711832579</c:v>
                </c:pt>
                <c:pt idx="9">
                  <c:v>5.871901674128954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5">
                  <c:v>3.6411951396942636E-2</c:v>
                </c:pt>
                <c:pt idx="8">
                  <c:v>8.6254632221901786E-2</c:v>
                </c:pt>
                <c:pt idx="9">
                  <c:v>2.4760042330392758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C$2:$C$14</c:f>
              <c:numCache>
                <c:formatCode>General</c:formatCode>
                <c:ptCount val="13"/>
                <c:pt idx="2">
                  <c:v>5.7279737499277604E-3</c:v>
                </c:pt>
                <c:pt idx="3">
                  <c:v>6.8172638867039656E-2</c:v>
                </c:pt>
                <c:pt idx="5">
                  <c:v>9.3501410730676054E-2</c:v>
                </c:pt>
                <c:pt idx="8">
                  <c:v>0.1510088105452856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D$2:$D$14</c:f>
              <c:numCache>
                <c:formatCode>General</c:formatCode>
                <c:ptCount val="13"/>
                <c:pt idx="5">
                  <c:v>5.2607981753840551E-2</c:v>
                </c:pt>
                <c:pt idx="8">
                  <c:v>9.6429656875496123E-2</c:v>
                </c:pt>
                <c:pt idx="9">
                  <c:v>3.375550864972082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ysan Bret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E$2:$E$14</c:f>
              <c:numCache>
                <c:formatCode>General</c:formatCode>
                <c:ptCount val="13"/>
                <c:pt idx="2">
                  <c:v>8.9527355625323626E-3</c:v>
                </c:pt>
                <c:pt idx="5">
                  <c:v>4.6244824776479988E-2</c:v>
                </c:pt>
                <c:pt idx="8">
                  <c:v>7.225337351694409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F$2:$F$14</c:f>
              <c:numCache>
                <c:formatCode>General</c:formatCode>
                <c:ptCount val="13"/>
                <c:pt idx="2">
                  <c:v>4.9645561528400868E-5</c:v>
                </c:pt>
                <c:pt idx="5">
                  <c:v>1.8313181483870577E-5</c:v>
                </c:pt>
                <c:pt idx="6">
                  <c:v>8.0376964000568804E-2</c:v>
                </c:pt>
                <c:pt idx="7">
                  <c:v>3.4244596893143501E-4</c:v>
                </c:pt>
                <c:pt idx="8">
                  <c:v>0.14265828395869815</c:v>
                </c:pt>
                <c:pt idx="9">
                  <c:v>1.6214532985086785E-4</c:v>
                </c:pt>
                <c:pt idx="10">
                  <c:v>3.058342354592470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9">
                  <c:v>2.58E-2</c:v>
                </c:pt>
                <c:pt idx="10">
                  <c:v>0.97419999999999995</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3.0514884509204492E-3</c:v>
                </c:pt>
                <c:pt idx="1">
                  <c:v>3.4694502563154175E-3</c:v>
                </c:pt>
                <c:pt idx="2">
                  <c:v>4.4352743456934855E-3</c:v>
                </c:pt>
                <c:pt idx="3">
                  <c:v>5.9649644512206321E-2</c:v>
                </c:pt>
                <c:pt idx="4">
                  <c:v>3.9085132320912236E-2</c:v>
                </c:pt>
                <c:pt idx="5">
                  <c:v>2.7360055985208086E-2</c:v>
                </c:pt>
                <c:pt idx="6">
                  <c:v>8.6695116521100249E-2</c:v>
                </c:pt>
                <c:pt idx="7">
                  <c:v>0.24180534467699411</c:v>
                </c:pt>
                <c:pt idx="8">
                  <c:v>0.14148704324444239</c:v>
                </c:pt>
                <c:pt idx="9">
                  <c:v>0.24435861527080921</c:v>
                </c:pt>
                <c:pt idx="10">
                  <c:v>0.1486028344153980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49 GR</c:v>
                </c:pt>
                <c:pt idx="6">
                  <c:v>250-350 GR</c:v>
                </c:pt>
                <c:pt idx="7">
                  <c:v>150-250 GR</c:v>
                </c:pt>
                <c:pt idx="8">
                  <c:v>150-249 GR</c:v>
                </c:pt>
                <c:pt idx="9">
                  <c:v>50-150 GR</c:v>
                </c:pt>
                <c:pt idx="10">
                  <c:v>50-149 GR</c:v>
                </c:pt>
                <c:pt idx="11">
                  <c:v>0-49 GR</c:v>
                </c:pt>
                <c:pt idx="12">
                  <c:v>0-50 GR</c:v>
                </c:pt>
              </c:strCache>
            </c:strRef>
          </c:cat>
          <c:val>
            <c:numRef>
              <c:f>Sheet1!$B$2:$B$14</c:f>
              <c:numCache>
                <c:formatCode>General</c:formatCode>
                <c:ptCount val="13"/>
                <c:pt idx="9">
                  <c:v>1.0915669711020806E-2</c:v>
                </c:pt>
                <c:pt idx="10">
                  <c:v>2.886323863801986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49 GR</c:v>
                </c:pt>
                <c:pt idx="6">
                  <c:v>250-350 GR</c:v>
                </c:pt>
                <c:pt idx="7">
                  <c:v>150-250 GR</c:v>
                </c:pt>
                <c:pt idx="8">
                  <c:v>150-249 GR</c:v>
                </c:pt>
                <c:pt idx="9">
                  <c:v>50-150 GR</c:v>
                </c:pt>
                <c:pt idx="10">
                  <c:v>50-149 GR</c:v>
                </c:pt>
                <c:pt idx="11">
                  <c:v>0-49 GR</c:v>
                </c:pt>
                <c:pt idx="12">
                  <c:v>0-50 GR</c:v>
                </c:pt>
              </c:strCache>
            </c:strRef>
          </c:cat>
          <c:val>
            <c:numRef>
              <c:f>Sheet1!$C$2:$C$14</c:f>
              <c:numCache>
                <c:formatCode>General</c:formatCode>
                <c:ptCount val="13"/>
                <c:pt idx="0">
                  <c:v>1.1504943725024013E-3</c:v>
                </c:pt>
                <c:pt idx="1">
                  <c:v>1.5275277247393483E-3</c:v>
                </c:pt>
                <c:pt idx="2">
                  <c:v>4.4348967856449812E-3</c:v>
                </c:pt>
                <c:pt idx="3">
                  <c:v>2.7841883960607855E-2</c:v>
                </c:pt>
                <c:pt idx="4">
                  <c:v>3.8958985733106355E-2</c:v>
                </c:pt>
                <c:pt idx="5">
                  <c:v>2.6096436127072613E-2</c:v>
                </c:pt>
                <c:pt idx="6">
                  <c:v>1.9254409027786971E-2</c:v>
                </c:pt>
                <c:pt idx="7">
                  <c:v>0.10077068821926924</c:v>
                </c:pt>
                <c:pt idx="8">
                  <c:v>0.13908626726641804</c:v>
                </c:pt>
                <c:pt idx="9">
                  <c:v>0.10628132531951306</c:v>
                </c:pt>
                <c:pt idx="10">
                  <c:v>0.146326370083343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49 GR</c:v>
                </c:pt>
                <c:pt idx="6">
                  <c:v>250-350 GR</c:v>
                </c:pt>
                <c:pt idx="7">
                  <c:v>150-250 GR</c:v>
                </c:pt>
                <c:pt idx="8">
                  <c:v>150-249 GR</c:v>
                </c:pt>
                <c:pt idx="9">
                  <c:v>50-150 GR</c:v>
                </c:pt>
                <c:pt idx="10">
                  <c:v>50-149 GR</c:v>
                </c:pt>
                <c:pt idx="11">
                  <c:v>0-49 GR</c:v>
                </c:pt>
                <c:pt idx="12">
                  <c:v>0-50 GR</c:v>
                </c:pt>
              </c:strCache>
            </c:strRef>
          </c:cat>
          <c:val>
            <c:numRef>
              <c:f>Sheet1!$D$2:$D$14</c:f>
              <c:numCache>
                <c:formatCode>General</c:formatCode>
                <c:ptCount val="13"/>
                <c:pt idx="3">
                  <c:v>2.4466179976535888E-2</c:v>
                </c:pt>
                <c:pt idx="4">
                  <c:v>5.8521807518214687E-7</c:v>
                </c:pt>
                <c:pt idx="5">
                  <c:v>5.9088147590971599E-7</c:v>
                </c:pt>
                <c:pt idx="6">
                  <c:v>1.6542557550199209E-2</c:v>
                </c:pt>
                <c:pt idx="7">
                  <c:v>3.3026496071167713E-2</c:v>
                </c:pt>
                <c:pt idx="8">
                  <c:v>3.3936984959836946E-5</c:v>
                </c:pt>
                <c:pt idx="9">
                  <c:v>4.5674532103943198E-2</c:v>
                </c:pt>
                <c:pt idx="10">
                  <c:v>1.0979927599575926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49 GR</c:v>
                </c:pt>
                <c:pt idx="6">
                  <c:v>250-350 GR</c:v>
                </c:pt>
                <c:pt idx="7">
                  <c:v>150-250 GR</c:v>
                </c:pt>
                <c:pt idx="8">
                  <c:v>150-249 GR</c:v>
                </c:pt>
                <c:pt idx="9">
                  <c:v>50-150 GR</c:v>
                </c:pt>
                <c:pt idx="10">
                  <c:v>50-149 GR</c:v>
                </c:pt>
                <c:pt idx="11">
                  <c:v>0-49 GR</c:v>
                </c:pt>
                <c:pt idx="12">
                  <c:v>0-50 GR</c:v>
                </c:pt>
              </c:strCache>
            </c:strRef>
          </c:cat>
          <c:val>
            <c:numRef>
              <c:f>Sheet1!$E$2:$E$14</c:f>
              <c:numCache>
                <c:formatCode>General</c:formatCode>
                <c:ptCount val="13"/>
                <c:pt idx="1">
                  <c:v>1.0373462332664182E-6</c:v>
                </c:pt>
                <c:pt idx="3">
                  <c:v>3.0774919553610828E-5</c:v>
                </c:pt>
                <c:pt idx="6">
                  <c:v>2.0286296686652133E-2</c:v>
                </c:pt>
                <c:pt idx="7">
                  <c:v>4.37561532730917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49 GR</c:v>
                </c:pt>
                <c:pt idx="6">
                  <c:v>250-350 GR</c:v>
                </c:pt>
                <c:pt idx="7">
                  <c:v>150-250 GR</c:v>
                </c:pt>
                <c:pt idx="8">
                  <c:v>150-249 GR</c:v>
                </c:pt>
                <c:pt idx="9">
                  <c:v>50-150 GR</c:v>
                </c:pt>
                <c:pt idx="10">
                  <c:v>50-149 GR</c:v>
                </c:pt>
                <c:pt idx="11">
                  <c:v>0-49 GR</c:v>
                </c:pt>
                <c:pt idx="12">
                  <c:v>0-50 GR</c:v>
                </c:pt>
              </c:strCache>
            </c:strRef>
          </c:cat>
          <c:val>
            <c:numRef>
              <c:f>Sheet1!$F$2:$F$14</c:f>
              <c:numCache>
                <c:formatCode>General</c:formatCode>
                <c:ptCount val="13"/>
                <c:pt idx="0">
                  <c:v>1.9009940784180477E-3</c:v>
                </c:pt>
                <c:pt idx="1">
                  <c:v>3.7756004850461084E-7</c:v>
                </c:pt>
                <c:pt idx="2">
                  <c:v>1.9408851853428026E-3</c:v>
                </c:pt>
                <c:pt idx="3">
                  <c:v>7.3108056555089666E-3</c:v>
                </c:pt>
                <c:pt idx="4">
                  <c:v>1.2556136973069338E-4</c:v>
                </c:pt>
                <c:pt idx="5">
                  <c:v>1.2630289766595644E-3</c:v>
                </c:pt>
                <c:pt idx="6">
                  <c:v>3.0611853256461929E-2</c:v>
                </c:pt>
                <c:pt idx="7">
                  <c:v>6.4252007113465404E-2</c:v>
                </c:pt>
                <c:pt idx="8">
                  <c:v>2.3668389930644918E-3</c:v>
                </c:pt>
                <c:pt idx="9">
                  <c:v>8.8983918571639443E-4</c:v>
                </c:pt>
                <c:pt idx="10">
                  <c:v>8.148708813633212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9">
                  <c:v>0.96240000000000003</c:v>
                </c:pt>
                <c:pt idx="10">
                  <c:v>3.7600000000000001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4.3623544200504039E-3</c:v>
                </c:pt>
                <c:pt idx="1">
                  <c:v>7.4220041840183384E-4</c:v>
                </c:pt>
                <c:pt idx="2">
                  <c:v>1.1454750131276404E-3</c:v>
                </c:pt>
                <c:pt idx="3">
                  <c:v>3.9345803659033951E-2</c:v>
                </c:pt>
                <c:pt idx="4">
                  <c:v>5.2895285528101438E-2</c:v>
                </c:pt>
                <c:pt idx="5">
                  <c:v>9.1889564298411372E-2</c:v>
                </c:pt>
                <c:pt idx="6">
                  <c:v>2.2778357111808513E-2</c:v>
                </c:pt>
                <c:pt idx="7">
                  <c:v>0.19375608835055957</c:v>
                </c:pt>
                <c:pt idx="8">
                  <c:v>0.24876664768393597</c:v>
                </c:pt>
                <c:pt idx="9">
                  <c:v>0.13008962121002385</c:v>
                </c:pt>
                <c:pt idx="10">
                  <c:v>0.2142286023065454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50 GR</c:v>
                </c:pt>
                <c:pt idx="6">
                  <c:v>250-349 GR</c:v>
                </c:pt>
                <c:pt idx="7">
                  <c:v>150-249 GR</c:v>
                </c:pt>
                <c:pt idx="8">
                  <c:v>150-250 GR</c:v>
                </c:pt>
                <c:pt idx="9">
                  <c:v>50-149 GR</c:v>
                </c:pt>
                <c:pt idx="10">
                  <c:v>50-150 GR</c:v>
                </c:pt>
                <c:pt idx="11">
                  <c:v>0-49 GR</c:v>
                </c:pt>
                <c:pt idx="12">
                  <c:v>0-50 GR</c:v>
                </c:pt>
              </c:strCache>
            </c:strRef>
          </c:cat>
          <c:val>
            <c:numRef>
              <c:f>Sheet1!$B$2:$B$14</c:f>
              <c:numCache>
                <c:formatCode>General</c:formatCode>
                <c:ptCount val="13"/>
                <c:pt idx="9">
                  <c:v>6.2881405862937035E-4</c:v>
                </c:pt>
                <c:pt idx="10">
                  <c:v>1.607670486383379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50 GR</c:v>
                </c:pt>
                <c:pt idx="6">
                  <c:v>250-349 GR</c:v>
                </c:pt>
                <c:pt idx="7">
                  <c:v>150-249 GR</c:v>
                </c:pt>
                <c:pt idx="8">
                  <c:v>150-250 GR</c:v>
                </c:pt>
                <c:pt idx="9">
                  <c:v>50-149 GR</c:v>
                </c:pt>
                <c:pt idx="10">
                  <c:v>50-150 GR</c:v>
                </c:pt>
                <c:pt idx="11">
                  <c:v>0-49 GR</c:v>
                </c:pt>
                <c:pt idx="12">
                  <c:v>0-50 GR</c:v>
                </c:pt>
              </c:strCache>
            </c:strRef>
          </c:cat>
          <c:val>
            <c:numRef>
              <c:f>Sheet1!$C$2:$C$14</c:f>
              <c:numCache>
                <c:formatCode>General</c:formatCode>
                <c:ptCount val="13"/>
                <c:pt idx="1">
                  <c:v>7.4220041840183384E-4</c:v>
                </c:pt>
                <c:pt idx="3">
                  <c:v>3.9345385606274166E-2</c:v>
                </c:pt>
                <c:pt idx="4">
                  <c:v>2.2650406839017069E-2</c:v>
                </c:pt>
                <c:pt idx="5">
                  <c:v>1.1885004805986784E-2</c:v>
                </c:pt>
                <c:pt idx="6">
                  <c:v>2.0963083192614161E-2</c:v>
                </c:pt>
                <c:pt idx="7">
                  <c:v>0.18951002575696213</c:v>
                </c:pt>
                <c:pt idx="8">
                  <c:v>0.10376200139330714</c:v>
                </c:pt>
                <c:pt idx="9">
                  <c:v>0.12598186614634149</c:v>
                </c:pt>
                <c:pt idx="10">
                  <c:v>6.709071639328995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alak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50 GR</c:v>
                </c:pt>
                <c:pt idx="6">
                  <c:v>250-349 GR</c:v>
                </c:pt>
                <c:pt idx="7">
                  <c:v>150-249 GR</c:v>
                </c:pt>
                <c:pt idx="8">
                  <c:v>150-250 GR</c:v>
                </c:pt>
                <c:pt idx="9">
                  <c:v>50-149 GR</c:v>
                </c:pt>
                <c:pt idx="10">
                  <c:v>50-150 GR</c:v>
                </c:pt>
                <c:pt idx="11">
                  <c:v>0-49 GR</c:v>
                </c:pt>
                <c:pt idx="12">
                  <c:v>0-50 GR</c:v>
                </c:pt>
              </c:strCache>
            </c:strRef>
          </c:cat>
          <c:val>
            <c:numRef>
              <c:f>Sheet1!$D$2:$D$14</c:f>
              <c:numCache>
                <c:formatCode>General</c:formatCode>
                <c:ptCount val="13"/>
                <c:pt idx="2">
                  <c:v>2.8323074475378015E-6</c:v>
                </c:pt>
                <c:pt idx="5">
                  <c:v>2.1861107551566051E-2</c:v>
                </c:pt>
                <c:pt idx="8">
                  <c:v>4.574105981370335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alban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50 GR</c:v>
                </c:pt>
                <c:pt idx="6">
                  <c:v>250-349 GR</c:v>
                </c:pt>
                <c:pt idx="7">
                  <c:v>150-249 GR</c:v>
                </c:pt>
                <c:pt idx="8">
                  <c:v>150-250 GR</c:v>
                </c:pt>
                <c:pt idx="9">
                  <c:v>50-149 GR</c:v>
                </c:pt>
                <c:pt idx="10">
                  <c:v>50-150 GR</c:v>
                </c:pt>
                <c:pt idx="11">
                  <c:v>0-49 GR</c:v>
                </c:pt>
                <c:pt idx="12">
                  <c:v>0-50 GR</c:v>
                </c:pt>
              </c:strCache>
            </c:strRef>
          </c:cat>
          <c:val>
            <c:numRef>
              <c:f>Sheet1!$E$2:$E$14</c:f>
              <c:numCache>
                <c:formatCode>General</c:formatCode>
                <c:ptCount val="13"/>
                <c:pt idx="4">
                  <c:v>2.191222495276866E-2</c:v>
                </c:pt>
                <c:pt idx="5">
                  <c:v>1.3676815514038248E-2</c:v>
                </c:pt>
                <c:pt idx="7">
                  <c:v>9.4061870951439902E-7</c:v>
                </c:pt>
                <c:pt idx="8">
                  <c:v>2.188679166799529E-2</c:v>
                </c:pt>
                <c:pt idx="9">
                  <c:v>1.601136844313902E-3</c:v>
                </c:pt>
                <c:pt idx="10">
                  <c:v>4.337878998662889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50 GR</c:v>
                </c:pt>
                <c:pt idx="6">
                  <c:v>250-349 GR</c:v>
                </c:pt>
                <c:pt idx="7">
                  <c:v>150-249 GR</c:v>
                </c:pt>
                <c:pt idx="8">
                  <c:v>150-250 GR</c:v>
                </c:pt>
                <c:pt idx="9">
                  <c:v>50-149 GR</c:v>
                </c:pt>
                <c:pt idx="10">
                  <c:v>50-150 GR</c:v>
                </c:pt>
                <c:pt idx="11">
                  <c:v>0-49 GR</c:v>
                </c:pt>
                <c:pt idx="12">
                  <c:v>0-50 GR</c:v>
                </c:pt>
              </c:strCache>
            </c:strRef>
          </c:cat>
          <c:val>
            <c:numRef>
              <c:f>Sheet1!$F$2:$F$14</c:f>
              <c:numCache>
                <c:formatCode>General</c:formatCode>
                <c:ptCount val="13"/>
                <c:pt idx="2">
                  <c:v>1.1426427056801026E-3</c:v>
                </c:pt>
                <c:pt idx="3">
                  <c:v>3.7515479840487371E-3</c:v>
                </c:pt>
                <c:pt idx="5">
                  <c:v>4.4466636426820291E-2</c:v>
                </c:pt>
                <c:pt idx="7">
                  <c:v>5.1440326056905572E-2</c:v>
                </c:pt>
                <c:pt idx="8">
                  <c:v>3.0181590726912545E-2</c:v>
                </c:pt>
                <c:pt idx="9">
                  <c:v>4.112543858045670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9">
                  <c:v>0.97440000000000004</c:v>
                </c:pt>
                <c:pt idx="10">
                  <c:v>2.5600000000000001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5">
                  <c:v>0.49944007839767784</c:v>
                </c:pt>
                <c:pt idx="6">
                  <c:v>1.6155373871998238E-2</c:v>
                </c:pt>
                <c:pt idx="7">
                  <c:v>3.1881979303787146E-2</c:v>
                </c:pt>
                <c:pt idx="9">
                  <c:v>1.2662711277150168E-3</c:v>
                </c:pt>
                <c:pt idx="10">
                  <c:v>0.4512544092596991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0588329459832054E-3</c:v>
                </c:pt>
                <c:pt idx="1">
                  <c:v>7.8251402036527088E-4</c:v>
                </c:pt>
                <c:pt idx="4">
                  <c:v>8.9010434283185988E-2</c:v>
                </c:pt>
                <c:pt idx="6">
                  <c:v>0.11588715556988459</c:v>
                </c:pt>
                <c:pt idx="7">
                  <c:v>0.38683540238311287</c:v>
                </c:pt>
                <c:pt idx="8">
                  <c:v>8.171563093686076E-3</c:v>
                </c:pt>
                <c:pt idx="9">
                  <c:v>3.1710661268696699E-3</c:v>
                </c:pt>
                <c:pt idx="10">
                  <c:v>0.3944030874675362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49 GR</c:v>
                </c:pt>
                <c:pt idx="10">
                  <c:v>50-150 GR</c:v>
                </c:pt>
                <c:pt idx="11">
                  <c:v>0-49 GR</c:v>
                </c:pt>
                <c:pt idx="12">
                  <c:v>0-50 GR</c:v>
                </c:pt>
              </c:strCache>
            </c:strRef>
          </c:cat>
          <c:val>
            <c:numRef>
              <c:f>Sheet1!$B$2:$B$14</c:f>
              <c:numCache>
                <c:formatCode>General</c:formatCode>
                <c:ptCount val="13"/>
                <c:pt idx="9">
                  <c:v>3.7473488960441937E-4</c:v>
                </c:pt>
                <c:pt idx="10">
                  <c:v>1.4239974674932673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49 GR</c:v>
                </c:pt>
                <c:pt idx="10">
                  <c:v>50-150 GR</c:v>
                </c:pt>
                <c:pt idx="11">
                  <c:v>0-49 GR</c:v>
                </c:pt>
                <c:pt idx="12">
                  <c:v>0-50 GR</c:v>
                </c:pt>
              </c:strCache>
            </c:strRef>
          </c:cat>
          <c:val>
            <c:numRef>
              <c:f>Sheet1!$C$2:$C$14</c:f>
              <c:numCache>
                <c:formatCode>General</c:formatCode>
                <c:ptCount val="13"/>
                <c:pt idx="4">
                  <c:v>4.3647638855391468E-2</c:v>
                </c:pt>
                <c:pt idx="6">
                  <c:v>4.6009955935826144E-2</c:v>
                </c:pt>
                <c:pt idx="7">
                  <c:v>0.22755458516457575</c:v>
                </c:pt>
                <c:pt idx="10">
                  <c:v>0.2547115919890301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49 GR</c:v>
                </c:pt>
                <c:pt idx="10">
                  <c:v>50-150 GR</c:v>
                </c:pt>
                <c:pt idx="11">
                  <c:v>0-49 GR</c:v>
                </c:pt>
                <c:pt idx="12">
                  <c:v>0-50 GR</c:v>
                </c:pt>
              </c:strCache>
            </c:strRef>
          </c:cat>
          <c:val>
            <c:numRef>
              <c:f>Sheet1!$D$2:$D$14</c:f>
              <c:numCache>
                <c:formatCode>General</c:formatCode>
                <c:ptCount val="13"/>
                <c:pt idx="4">
                  <c:v>3.7097002897101106E-2</c:v>
                </c:pt>
                <c:pt idx="6">
                  <c:v>2.5489995312311532E-2</c:v>
                </c:pt>
                <c:pt idx="7">
                  <c:v>6.2801569934585189E-2</c:v>
                </c:pt>
                <c:pt idx="9">
                  <c:v>1.9574620025639301E-3</c:v>
                </c:pt>
                <c:pt idx="10">
                  <c:v>6.295599902315456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49 GR</c:v>
                </c:pt>
                <c:pt idx="10">
                  <c:v>50-150 GR</c:v>
                </c:pt>
                <c:pt idx="11">
                  <c:v>0-49 GR</c:v>
                </c:pt>
                <c:pt idx="12">
                  <c:v>0-50 GR</c:v>
                </c:pt>
              </c:strCache>
            </c:strRef>
          </c:cat>
          <c:val>
            <c:numRef>
              <c:f>Sheet1!$E$2:$E$14</c:f>
              <c:numCache>
                <c:formatCode>General</c:formatCode>
                <c:ptCount val="13"/>
                <c:pt idx="6">
                  <c:v>3.0231530335985812E-2</c:v>
                </c:pt>
                <c:pt idx="7">
                  <c:v>5.481055692562049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49 GR</c:v>
                </c:pt>
                <c:pt idx="10">
                  <c:v>50-150 GR</c:v>
                </c:pt>
                <c:pt idx="11">
                  <c:v>0-49 GR</c:v>
                </c:pt>
                <c:pt idx="12">
                  <c:v>0-50 GR</c:v>
                </c:pt>
              </c:strCache>
            </c:strRef>
          </c:cat>
          <c:val>
            <c:numRef>
              <c:f>Sheet1!$F$2:$F$14</c:f>
              <c:numCache>
                <c:formatCode>General</c:formatCode>
                <c:ptCount val="13"/>
                <c:pt idx="0">
                  <c:v>1.0588329459832054E-3</c:v>
                </c:pt>
                <c:pt idx="1">
                  <c:v>7.8251402036527088E-4</c:v>
                </c:pt>
                <c:pt idx="3">
                  <c:v>4.65290934262347E-4</c:v>
                </c:pt>
                <c:pt idx="4">
                  <c:v>8.2657925306934121E-3</c:v>
                </c:pt>
                <c:pt idx="5">
                  <c:v>2.1465317511378169E-4</c:v>
                </c:pt>
                <c:pt idx="6">
                  <c:v>1.4155673985761102E-2</c:v>
                </c:pt>
                <c:pt idx="7">
                  <c:v>8.171563093686076E-3</c:v>
                </c:pt>
                <c:pt idx="8">
                  <c:v>4.1668690358331442E-2</c:v>
                </c:pt>
                <c:pt idx="9">
                  <c:v>8.3886923470132067E-4</c:v>
                </c:pt>
                <c:pt idx="10">
                  <c:v>6.249552178041882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5157577861394508E-2</c:v>
                </c:pt>
                <c:pt idx="1">
                  <c:v>4.0338290807629851E-2</c:v>
                </c:pt>
                <c:pt idx="2">
                  <c:v>2.7317055035750843E-2</c:v>
                </c:pt>
                <c:pt idx="3">
                  <c:v>4.5773405333712824E-2</c:v>
                </c:pt>
                <c:pt idx="4">
                  <c:v>0.16969832877932148</c:v>
                </c:pt>
                <c:pt idx="5">
                  <c:v>0.39888044764011138</c:v>
                </c:pt>
                <c:pt idx="6">
                  <c:v>8.5453563995645465E-2</c:v>
                </c:pt>
                <c:pt idx="7">
                  <c:v>0.16633249927719454</c:v>
                </c:pt>
                <c:pt idx="8">
                  <c:v>4.0550623547376534E-2</c:v>
                </c:pt>
                <c:pt idx="9">
                  <c:v>9.7361119113524835E-3</c:v>
                </c:pt>
                <c:pt idx="10">
                  <c:v>7.6209581051008446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50 GR</c:v>
                </c:pt>
                <c:pt idx="10">
                  <c:v>50-149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aprice Des Dieux</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50 GR</c:v>
                </c:pt>
                <c:pt idx="10">
                  <c:v>50-149 GR</c:v>
                </c:pt>
                <c:pt idx="11">
                  <c:v>0-49 GR</c:v>
                </c:pt>
                <c:pt idx="12">
                  <c:v>0-50 GR</c:v>
                </c:pt>
              </c:strCache>
            </c:strRef>
          </c:cat>
          <c:val>
            <c:numRef>
              <c:f>Sheet1!$C$2:$C$14</c:f>
              <c:numCache>
                <c:formatCode>General</c:formatCode>
                <c:ptCount val="13"/>
                <c:pt idx="5">
                  <c:v>8.4662929189084316E-2</c:v>
                </c:pt>
                <c:pt idx="7">
                  <c:v>6.92667399987935E-2</c:v>
                </c:pt>
                <c:pt idx="9">
                  <c:v>3.0407406750139147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50 GR</c:v>
                </c:pt>
                <c:pt idx="10">
                  <c:v>50-149 GR</c:v>
                </c:pt>
                <c:pt idx="11">
                  <c:v>0-49 GR</c:v>
                </c:pt>
                <c:pt idx="12">
                  <c:v>0-50 GR</c:v>
                </c:pt>
              </c:strCache>
            </c:strRef>
          </c:cat>
          <c:val>
            <c:numRef>
              <c:f>Sheet1!$D$2:$D$14</c:f>
              <c:numCache>
                <c:formatCode>General</c:formatCode>
                <c:ptCount val="13"/>
                <c:pt idx="0">
                  <c:v>2.9043259965824403E-6</c:v>
                </c:pt>
                <c:pt idx="1">
                  <c:v>2.6571251214605983E-2</c:v>
                </c:pt>
                <c:pt idx="2">
                  <c:v>2.7317055035750843E-2</c:v>
                </c:pt>
                <c:pt idx="3">
                  <c:v>4.5750831370006594E-2</c:v>
                </c:pt>
                <c:pt idx="4">
                  <c:v>4.2545361137805576E-2</c:v>
                </c:pt>
                <c:pt idx="5">
                  <c:v>7.2525897194615177E-2</c:v>
                </c:pt>
                <c:pt idx="6">
                  <c:v>8.4196362974186742E-2</c:v>
                </c:pt>
                <c:pt idx="7">
                  <c:v>3.4500046968880441E-2</c:v>
                </c:pt>
                <c:pt idx="8">
                  <c:v>4.0473386706304161E-2</c:v>
                </c:pt>
                <c:pt idx="9">
                  <c:v>8.3870127636580987E-4</c:v>
                </c:pt>
                <c:pt idx="10">
                  <c:v>7.59157197912333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50 GR</c:v>
                </c:pt>
                <c:pt idx="10">
                  <c:v>50-149 GR</c:v>
                </c:pt>
                <c:pt idx="11">
                  <c:v>0-49 GR</c:v>
                </c:pt>
                <c:pt idx="12">
                  <c:v>0-50 GR</c:v>
                </c:pt>
              </c:strCache>
            </c:strRef>
          </c:cat>
          <c:val>
            <c:numRef>
              <c:f>Sheet1!$E$2:$E$14</c:f>
              <c:numCache>
                <c:formatCode>General</c:formatCode>
                <c:ptCount val="13"/>
                <c:pt idx="1">
                  <c:v>4.5123174158938654E-4</c:v>
                </c:pt>
                <c:pt idx="4">
                  <c:v>7.2956265121263963E-2</c:v>
                </c:pt>
                <c:pt idx="5">
                  <c:v>3.2513423595308538E-2</c:v>
                </c:pt>
                <c:pt idx="7">
                  <c:v>1.62443368434079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50 GR</c:v>
                </c:pt>
                <c:pt idx="10">
                  <c:v>50-149 GR</c:v>
                </c:pt>
                <c:pt idx="11">
                  <c:v>0-49 GR</c:v>
                </c:pt>
                <c:pt idx="12">
                  <c:v>0-50 GR</c:v>
                </c:pt>
              </c:strCache>
            </c:strRef>
          </c:cat>
          <c:val>
            <c:numRef>
              <c:f>Sheet1!$F$2:$F$14</c:f>
              <c:numCache>
                <c:formatCode>General</c:formatCode>
                <c:ptCount val="13"/>
                <c:pt idx="0">
                  <c:v>1.5154673535397926E-2</c:v>
                </c:pt>
                <c:pt idx="1">
                  <c:v>1.3315807851434477E-2</c:v>
                </c:pt>
                <c:pt idx="3">
                  <c:v>2.2573963706232768E-5</c:v>
                </c:pt>
                <c:pt idx="4">
                  <c:v>5.4196702520251924E-2</c:v>
                </c:pt>
                <c:pt idx="5">
                  <c:v>1.2572010214587286E-3</c:v>
                </c:pt>
                <c:pt idx="6">
                  <c:v>0.20917819766110338</c:v>
                </c:pt>
                <c:pt idx="7">
                  <c:v>7.7236841072373793E-5</c:v>
                </c:pt>
                <c:pt idx="8">
                  <c:v>4.6321375466112646E-2</c:v>
                </c:pt>
                <c:pt idx="9">
                  <c:v>2.9386125977514241E-6</c:v>
                </c:pt>
                <c:pt idx="10">
                  <c:v>5.8566699599727594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236538655618517E-2</c:v>
                </c:pt>
                <c:pt idx="1">
                  <c:v>2.5881090291032308E-2</c:v>
                </c:pt>
                <c:pt idx="2">
                  <c:v>2.017391439462202E-2</c:v>
                </c:pt>
                <c:pt idx="3">
                  <c:v>3.9383419606315632E-2</c:v>
                </c:pt>
                <c:pt idx="4">
                  <c:v>0.15717055300638599</c:v>
                </c:pt>
                <c:pt idx="5">
                  <c:v>8.8318017773152624E-2</c:v>
                </c:pt>
                <c:pt idx="6">
                  <c:v>0.41071261682106197</c:v>
                </c:pt>
                <c:pt idx="7">
                  <c:v>0.18771142446126557</c:v>
                </c:pt>
                <c:pt idx="8">
                  <c:v>4.4396021725698349E-2</c:v>
                </c:pt>
                <c:pt idx="9">
                  <c:v>1.388366573483737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C$2:$C$14</c:f>
              <c:numCache>
                <c:formatCode>General</c:formatCode>
                <c:ptCount val="13"/>
                <c:pt idx="0">
                  <c:v>1.3898806779292177E-6</c:v>
                </c:pt>
                <c:pt idx="1">
                  <c:v>1.3082697355585021E-2</c:v>
                </c:pt>
                <c:pt idx="2">
                  <c:v>2.017391439462202E-2</c:v>
                </c:pt>
                <c:pt idx="3">
                  <c:v>3.9383144684862856E-2</c:v>
                </c:pt>
                <c:pt idx="4">
                  <c:v>2.6788774014204347E-2</c:v>
                </c:pt>
                <c:pt idx="5">
                  <c:v>8.8281936878044628E-2</c:v>
                </c:pt>
                <c:pt idx="6">
                  <c:v>6.0738920949284021E-2</c:v>
                </c:pt>
                <c:pt idx="7">
                  <c:v>2.9961510131117728E-2</c:v>
                </c:pt>
                <c:pt idx="8">
                  <c:v>4.420740524454112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D$2:$D$14</c:f>
              <c:numCache>
                <c:formatCode>General</c:formatCode>
                <c:ptCount val="13"/>
                <c:pt idx="6">
                  <c:v>8.3354382219192336E-2</c:v>
                </c:pt>
                <c:pt idx="7">
                  <c:v>7.8275086191821081E-2</c:v>
                </c:pt>
                <c:pt idx="9">
                  <c:v>3.9842533341315559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E$2:$E$14</c:f>
              <c:numCache>
                <c:formatCode>General</c:formatCode>
                <c:ptCount val="13"/>
                <c:pt idx="1">
                  <c:v>2.5398160212401056E-4</c:v>
                </c:pt>
                <c:pt idx="4">
                  <c:v>7.2726081771241943E-2</c:v>
                </c:pt>
                <c:pt idx="6">
                  <c:v>4.416413057141879E-2</c:v>
                </c:pt>
                <c:pt idx="7">
                  <c:v>1.338654665456000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F$2:$F$14</c:f>
              <c:numCache>
                <c:formatCode>General</c:formatCode>
                <c:ptCount val="13"/>
                <c:pt idx="0">
                  <c:v>1.2363996675507241E-2</c:v>
                </c:pt>
                <c:pt idx="1">
                  <c:v>1.2544411333323277E-2</c:v>
                </c:pt>
                <c:pt idx="3">
                  <c:v>2.7492145277720789E-7</c:v>
                </c:pt>
                <c:pt idx="4">
                  <c:v>5.7655697220939696E-2</c:v>
                </c:pt>
                <c:pt idx="5">
                  <c:v>3.6080895108001338E-5</c:v>
                </c:pt>
                <c:pt idx="6">
                  <c:v>0.2224551830811668</c:v>
                </c:pt>
                <c:pt idx="7">
                  <c:v>1.886164811572222E-4</c:v>
                </c:pt>
                <c:pt idx="8">
                  <c:v>6.6088281483766761E-2</c:v>
                </c:pt>
                <c:pt idx="9">
                  <c:v>3.8896294429960522E-6</c:v>
                </c:pt>
                <c:pt idx="10">
                  <c:v>9.8994124007058173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2.5205229389434692E-2</c:v>
                </c:pt>
                <c:pt idx="1">
                  <c:v>7.0854005164393927E-2</c:v>
                </c:pt>
                <c:pt idx="4">
                  <c:v>0.22945432953046957</c:v>
                </c:pt>
                <c:pt idx="5">
                  <c:v>3.8148882224123101E-3</c:v>
                </c:pt>
                <c:pt idx="6">
                  <c:v>0.45957844987696017</c:v>
                </c:pt>
                <c:pt idx="7">
                  <c:v>0.19641326098319853</c:v>
                </c:pt>
                <c:pt idx="9">
                  <c:v>1.467023590153841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C$2:$C$14</c:f>
              <c:numCache>
                <c:formatCode>General</c:formatCode>
                <c:ptCount val="13"/>
                <c:pt idx="5">
                  <c:v>0.49943703655686905</c:v>
                </c:pt>
                <c:pt idx="6">
                  <c:v>1.6018569703900136E-2</c:v>
                </c:pt>
                <c:pt idx="10">
                  <c:v>9.477725635556580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D$2:$D$14</c:f>
              <c:numCache>
                <c:formatCode>General</c:formatCode>
                <c:ptCount val="13"/>
                <c:pt idx="10">
                  <c:v>0.1240487593445808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E$2:$E$14</c:f>
              <c:numCache>
                <c:formatCode>General</c:formatCode>
                <c:ptCount val="13"/>
                <c:pt idx="9">
                  <c:v>1.2662711277150168E-3</c:v>
                </c:pt>
                <c:pt idx="10">
                  <c:v>0.11085873447412328</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F$2:$F$14</c:f>
              <c:numCache>
                <c:formatCode>General</c:formatCode>
                <c:ptCount val="13"/>
                <c:pt idx="5">
                  <c:v>3.0418408087751233E-6</c:v>
                </c:pt>
                <c:pt idx="6">
                  <c:v>1.3680416809810187E-4</c:v>
                </c:pt>
                <c:pt idx="8">
                  <c:v>3.1881979303787146E-2</c:v>
                </c:pt>
                <c:pt idx="9">
                  <c:v>0.1215696590854291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aprice Des Dieux</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C$2:$C$14</c:f>
              <c:numCache>
                <c:formatCode>General</c:formatCode>
                <c:ptCount val="13"/>
                <c:pt idx="6">
                  <c:v>9.9930715451976682E-2</c:v>
                </c:pt>
                <c:pt idx="7">
                  <c:v>7.9599416074447649E-2</c:v>
                </c:pt>
                <c:pt idx="9">
                  <c:v>3.2377137717328739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D$2:$D$14</c:f>
              <c:numCache>
                <c:formatCode>General</c:formatCode>
                <c:ptCount val="13"/>
                <c:pt idx="1">
                  <c:v>5.63293554281281E-2</c:v>
                </c:pt>
                <c:pt idx="4">
                  <c:v>7.5908432690236213E-2</c:v>
                </c:pt>
                <c:pt idx="6">
                  <c:v>9.789431746896525E-2</c:v>
                </c:pt>
                <c:pt idx="7">
                  <c:v>5.8125506410302778E-2</c:v>
                </c:pt>
                <c:pt idx="9">
                  <c:v>4.0925633209713107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E$2:$E$14</c:f>
              <c:numCache>
                <c:formatCode>General</c:formatCode>
                <c:ptCount val="13"/>
                <c:pt idx="1">
                  <c:v>1.1702211987525574E-2</c:v>
                </c:pt>
                <c:pt idx="4">
                  <c:v>5.187640607041364E-2</c:v>
                </c:pt>
                <c:pt idx="6">
                  <c:v>8.5594710039561803E-2</c:v>
                </c:pt>
                <c:pt idx="7">
                  <c:v>2.3626798950477115E-2</c:v>
                </c:pt>
                <c:pt idx="9">
                  <c:v>7.281091737653283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F$2:$F$14</c:f>
              <c:numCache>
                <c:formatCode>General</c:formatCode>
                <c:ptCount val="13"/>
                <c:pt idx="0">
                  <c:v>2.5205229389434692E-2</c:v>
                </c:pt>
                <c:pt idx="1">
                  <c:v>2.8224377487402518E-3</c:v>
                </c:pt>
                <c:pt idx="4">
                  <c:v>0.10166949076981972</c:v>
                </c:pt>
                <c:pt idx="5">
                  <c:v>3.8148882224123101E-3</c:v>
                </c:pt>
                <c:pt idx="6">
                  <c:v>0.17615870691645644</c:v>
                </c:pt>
                <c:pt idx="7">
                  <c:v>3.5061539547970991E-2</c:v>
                </c:pt>
                <c:pt idx="8">
                  <c:v>9.600931592374348E-6</c:v>
                </c:pt>
                <c:pt idx="10">
                  <c:v>5.8867071180946402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1.794904042781517E-3</c:v>
                </c:pt>
                <c:pt idx="3">
                  <c:v>5.3250800681535662E-2</c:v>
                </c:pt>
                <c:pt idx="4">
                  <c:v>1.2097336922149603E-2</c:v>
                </c:pt>
                <c:pt idx="5">
                  <c:v>0.13317494056842391</c:v>
                </c:pt>
                <c:pt idx="6">
                  <c:v>4.9617802949127432E-2</c:v>
                </c:pt>
                <c:pt idx="7">
                  <c:v>0.45066032068205897</c:v>
                </c:pt>
                <c:pt idx="8">
                  <c:v>0.13758282380576167</c:v>
                </c:pt>
                <c:pt idx="9">
                  <c:v>4.3181035605857232E-2</c:v>
                </c:pt>
                <c:pt idx="10">
                  <c:v>0.11445756851909025</c:v>
                </c:pt>
                <c:pt idx="12">
                  <c:v>3.9161467489326656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50 GR</c:v>
                </c:pt>
                <c:pt idx="8">
                  <c:v>150-249 GR</c:v>
                </c:pt>
                <c:pt idx="9">
                  <c:v>50-149 GR</c:v>
                </c:pt>
                <c:pt idx="10">
                  <c:v>50-150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oignon</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50 GR</c:v>
                </c:pt>
                <c:pt idx="8">
                  <c:v>150-249 GR</c:v>
                </c:pt>
                <c:pt idx="9">
                  <c:v>50-149 GR</c:v>
                </c:pt>
                <c:pt idx="10">
                  <c:v>50-150 GR</c:v>
                </c:pt>
                <c:pt idx="11">
                  <c:v>0-49 GR</c:v>
                </c:pt>
                <c:pt idx="12">
                  <c:v>0-50 GR</c:v>
                </c:pt>
              </c:strCache>
            </c:strRef>
          </c:cat>
          <c:val>
            <c:numRef>
              <c:f>Sheet1!$C$2:$C$14</c:f>
              <c:numCache>
                <c:formatCode>General</c:formatCode>
                <c:ptCount val="13"/>
                <c:pt idx="2">
                  <c:v>3.3512042230674324E-4</c:v>
                </c:pt>
                <c:pt idx="3">
                  <c:v>3.3468966263556457E-2</c:v>
                </c:pt>
                <c:pt idx="5">
                  <c:v>4.8992233294762211E-2</c:v>
                </c:pt>
                <c:pt idx="7">
                  <c:v>0.15638974953160678</c:v>
                </c:pt>
                <c:pt idx="10">
                  <c:v>8.833627784009418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50 GR</c:v>
                </c:pt>
                <c:pt idx="8">
                  <c:v>150-249 GR</c:v>
                </c:pt>
                <c:pt idx="9">
                  <c:v>50-149 GR</c:v>
                </c:pt>
                <c:pt idx="10">
                  <c:v>50-150 GR</c:v>
                </c:pt>
                <c:pt idx="11">
                  <c:v>0-49 GR</c:v>
                </c:pt>
                <c:pt idx="12">
                  <c:v>0-50 GR</c:v>
                </c:pt>
              </c:strCache>
            </c:strRef>
          </c:cat>
          <c:val>
            <c:numRef>
              <c:f>Sheet1!$D$2:$D$14</c:f>
              <c:numCache>
                <c:formatCode>General</c:formatCode>
                <c:ptCount val="13"/>
                <c:pt idx="1">
                  <c:v>5.9198718012955866E-5</c:v>
                </c:pt>
                <c:pt idx="2">
                  <c:v>3.1922997346317285E-5</c:v>
                </c:pt>
                <c:pt idx="3">
                  <c:v>1.3676061664302791E-2</c:v>
                </c:pt>
                <c:pt idx="4">
                  <c:v>1.0548868286558133E-2</c:v>
                </c:pt>
                <c:pt idx="5">
                  <c:v>4.4745512076967246E-2</c:v>
                </c:pt>
                <c:pt idx="6">
                  <c:v>4.9037724956086076E-2</c:v>
                </c:pt>
                <c:pt idx="7">
                  <c:v>0.1149777879574404</c:v>
                </c:pt>
                <c:pt idx="8">
                  <c:v>0.13640114528173514</c:v>
                </c:pt>
                <c:pt idx="9">
                  <c:v>4.2830538764778374E-2</c:v>
                </c:pt>
                <c:pt idx="10">
                  <c:v>3.5357179120799359E-2</c:v>
                </c:pt>
                <c:pt idx="11">
                  <c:v>5.2948804307607585E-5</c:v>
                </c:pt>
                <c:pt idx="12">
                  <c:v>3.7490029515631416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50 GR</c:v>
                </c:pt>
                <c:pt idx="8">
                  <c:v>150-249 GR</c:v>
                </c:pt>
                <c:pt idx="9">
                  <c:v>50-149 GR</c:v>
                </c:pt>
                <c:pt idx="10">
                  <c:v>50-150 GR</c:v>
                </c:pt>
                <c:pt idx="11">
                  <c:v>0-49 GR</c:v>
                </c:pt>
                <c:pt idx="12">
                  <c:v>0-50 GR</c:v>
                </c:pt>
              </c:strCache>
            </c:strRef>
          </c:cat>
          <c:val>
            <c:numRef>
              <c:f>Sheet1!$E$2:$E$14</c:f>
              <c:numCache>
                <c:formatCode>General</c:formatCode>
                <c:ptCount val="13"/>
                <c:pt idx="3">
                  <c:v>2.1390953659405658E-3</c:v>
                </c:pt>
                <c:pt idx="5">
                  <c:v>2.3546841498113261E-2</c:v>
                </c:pt>
                <c:pt idx="7">
                  <c:v>4.9812552385502723E-2</c:v>
                </c:pt>
                <c:pt idx="9">
                  <c:v>1.2010510323445093E-6</c:v>
                </c:pt>
                <c:pt idx="10">
                  <c:v>6.936255059171077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50 GR</c:v>
                </c:pt>
                <c:pt idx="8">
                  <c:v>150-249 GR</c:v>
                </c:pt>
                <c:pt idx="9">
                  <c:v>50-149 GR</c:v>
                </c:pt>
                <c:pt idx="10">
                  <c:v>50-150 GR</c:v>
                </c:pt>
                <c:pt idx="11">
                  <c:v>0-49 GR</c:v>
                </c:pt>
                <c:pt idx="12">
                  <c:v>0-50 GR</c:v>
                </c:pt>
              </c:strCache>
            </c:strRef>
          </c:cat>
          <c:val>
            <c:numRef>
              <c:f>Sheet1!$F$2:$F$14</c:f>
              <c:numCache>
                <c:formatCode>General</c:formatCode>
                <c:ptCount val="13"/>
                <c:pt idx="3">
                  <c:v>3.9666773877358504E-3</c:v>
                </c:pt>
                <c:pt idx="4">
                  <c:v>1.5484686355914713E-3</c:v>
                </c:pt>
                <c:pt idx="5">
                  <c:v>1.5890353698581171E-2</c:v>
                </c:pt>
                <c:pt idx="7">
                  <c:v>0.12948023080750909</c:v>
                </c:pt>
                <c:pt idx="8">
                  <c:v>1.1816785240265082E-3</c:v>
                </c:pt>
                <c:pt idx="10">
                  <c:v>6.957313610836438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1.9200574149634607E-3</c:v>
                </c:pt>
                <c:pt idx="3">
                  <c:v>6.1681669626251878E-2</c:v>
                </c:pt>
                <c:pt idx="4">
                  <c:v>2.7371261184344724E-2</c:v>
                </c:pt>
                <c:pt idx="5">
                  <c:v>3.4117434126563401E-2</c:v>
                </c:pt>
                <c:pt idx="6">
                  <c:v>0.11202142177201879</c:v>
                </c:pt>
                <c:pt idx="7">
                  <c:v>0.44086480824993957</c:v>
                </c:pt>
                <c:pt idx="8">
                  <c:v>0.12558123125571202</c:v>
                </c:pt>
                <c:pt idx="9">
                  <c:v>6.4350498199608197E-2</c:v>
                </c:pt>
                <c:pt idx="10">
                  <c:v>0.13114877323465615</c:v>
                </c:pt>
                <c:pt idx="12">
                  <c:v>5.0455592082050151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49 GR</c:v>
                </c:pt>
                <c:pt idx="6">
                  <c:v>250-350 GR</c:v>
                </c:pt>
                <c:pt idx="7">
                  <c:v>150-250 GR</c:v>
                </c:pt>
                <c:pt idx="8">
                  <c:v>150-249 GR</c:v>
                </c:pt>
                <c:pt idx="9">
                  <c:v>50-149 GR</c:v>
                </c:pt>
                <c:pt idx="10">
                  <c:v>50-150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oignon</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49 GR</c:v>
                </c:pt>
                <c:pt idx="6">
                  <c:v>250-350 GR</c:v>
                </c:pt>
                <c:pt idx="7">
                  <c:v>150-250 GR</c:v>
                </c:pt>
                <c:pt idx="8">
                  <c:v>150-249 GR</c:v>
                </c:pt>
                <c:pt idx="9">
                  <c:v>50-149 GR</c:v>
                </c:pt>
                <c:pt idx="10">
                  <c:v>50-150 GR</c:v>
                </c:pt>
                <c:pt idx="11">
                  <c:v>0-49 GR</c:v>
                </c:pt>
                <c:pt idx="12">
                  <c:v>0-50 GR</c:v>
                </c:pt>
              </c:strCache>
            </c:strRef>
          </c:cat>
          <c:val>
            <c:numRef>
              <c:f>Sheet1!$C$2:$C$14</c:f>
              <c:numCache>
                <c:formatCode>General</c:formatCode>
                <c:ptCount val="13"/>
                <c:pt idx="2">
                  <c:v>4.0567911570269795E-5</c:v>
                </c:pt>
                <c:pt idx="3">
                  <c:v>3.2908010742209462E-2</c:v>
                </c:pt>
                <c:pt idx="6">
                  <c:v>5.2867011871372105E-2</c:v>
                </c:pt>
                <c:pt idx="7">
                  <c:v>0.16366770150492665</c:v>
                </c:pt>
                <c:pt idx="10">
                  <c:v>7.836428086334947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49 GR</c:v>
                </c:pt>
                <c:pt idx="6">
                  <c:v>250-350 GR</c:v>
                </c:pt>
                <c:pt idx="7">
                  <c:v>150-250 GR</c:v>
                </c:pt>
                <c:pt idx="8">
                  <c:v>150-249 GR</c:v>
                </c:pt>
                <c:pt idx="9">
                  <c:v>50-149 GR</c:v>
                </c:pt>
                <c:pt idx="10">
                  <c:v>50-150 GR</c:v>
                </c:pt>
                <c:pt idx="11">
                  <c:v>0-49 GR</c:v>
                </c:pt>
                <c:pt idx="12">
                  <c:v>0-50 GR</c:v>
                </c:pt>
              </c:strCache>
            </c:strRef>
          </c:cat>
          <c:val>
            <c:numRef>
              <c:f>Sheet1!$D$2:$D$14</c:f>
              <c:numCache>
                <c:formatCode>General</c:formatCode>
                <c:ptCount val="13"/>
                <c:pt idx="3">
                  <c:v>1.9290079348336934E-2</c:v>
                </c:pt>
                <c:pt idx="4">
                  <c:v>2.7370782506922067E-2</c:v>
                </c:pt>
                <c:pt idx="5">
                  <c:v>3.2974875994687007E-2</c:v>
                </c:pt>
                <c:pt idx="6">
                  <c:v>2.2449499924574647E-2</c:v>
                </c:pt>
                <c:pt idx="7">
                  <c:v>8.1704476959987907E-2</c:v>
                </c:pt>
                <c:pt idx="8">
                  <c:v>0.12444933117582449</c:v>
                </c:pt>
                <c:pt idx="9">
                  <c:v>6.3659512381331843E-2</c:v>
                </c:pt>
                <c:pt idx="10">
                  <c:v>4.1597905714474255E-2</c:v>
                </c:pt>
                <c:pt idx="11">
                  <c:v>3.0597958376470086E-4</c:v>
                </c:pt>
                <c:pt idx="12">
                  <c:v>2.1225604027520032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49 GR</c:v>
                </c:pt>
                <c:pt idx="6">
                  <c:v>250-350 GR</c:v>
                </c:pt>
                <c:pt idx="7">
                  <c:v>150-250 GR</c:v>
                </c:pt>
                <c:pt idx="8">
                  <c:v>150-249 GR</c:v>
                </c:pt>
                <c:pt idx="9">
                  <c:v>50-149 GR</c:v>
                </c:pt>
                <c:pt idx="10">
                  <c:v>50-150 GR</c:v>
                </c:pt>
                <c:pt idx="11">
                  <c:v>0-49 GR</c:v>
                </c:pt>
                <c:pt idx="12">
                  <c:v>0-50 GR</c:v>
                </c:pt>
              </c:strCache>
            </c:strRef>
          </c:cat>
          <c:val>
            <c:numRef>
              <c:f>Sheet1!$E$2:$E$14</c:f>
              <c:numCache>
                <c:formatCode>General</c:formatCode>
                <c:ptCount val="13"/>
                <c:pt idx="3">
                  <c:v>5.2155196105875398E-3</c:v>
                </c:pt>
                <c:pt idx="6">
                  <c:v>2.361021788117313E-2</c:v>
                </c:pt>
                <c:pt idx="7">
                  <c:v>3.766274349881079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49 GR</c:v>
                </c:pt>
                <c:pt idx="6">
                  <c:v>250-350 GR</c:v>
                </c:pt>
                <c:pt idx="7">
                  <c:v>150-250 GR</c:v>
                </c:pt>
                <c:pt idx="8">
                  <c:v>150-249 GR</c:v>
                </c:pt>
                <c:pt idx="9">
                  <c:v>50-149 GR</c:v>
                </c:pt>
                <c:pt idx="10">
                  <c:v>50-150 GR</c:v>
                </c:pt>
                <c:pt idx="11">
                  <c:v>0-49 GR</c:v>
                </c:pt>
                <c:pt idx="12">
                  <c:v>0-50 GR</c:v>
                </c:pt>
              </c:strCache>
            </c:strRef>
          </c:cat>
          <c:val>
            <c:numRef>
              <c:f>Sheet1!$F$2:$F$14</c:f>
              <c:numCache>
                <c:formatCode>General</c:formatCode>
                <c:ptCount val="13"/>
                <c:pt idx="4">
                  <c:v>6.251826313303303E-4</c:v>
                </c:pt>
                <c:pt idx="6">
                  <c:v>1.3094692094898906E-2</c:v>
                </c:pt>
                <c:pt idx="7">
                  <c:v>0.15782988628621419</c:v>
                </c:pt>
                <c:pt idx="8">
                  <c:v>1.1319000798875223E-3</c:v>
                </c:pt>
                <c:pt idx="9">
                  <c:v>1.4489662815210672E-2</c:v>
                </c:pt>
                <c:pt idx="12">
                  <c:v>2.9229988054530121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3.2845213709128342E-3</c:v>
                </c:pt>
                <c:pt idx="3">
                  <c:v>9.7217668156847847E-2</c:v>
                </c:pt>
                <c:pt idx="5">
                  <c:v>0.19111521943318921</c:v>
                </c:pt>
                <c:pt idx="7">
                  <c:v>3.4411113190741596E-3</c:v>
                </c:pt>
                <c:pt idx="8">
                  <c:v>0.56736849062265338</c:v>
                </c:pt>
                <c:pt idx="9">
                  <c:v>0.10745682504514192</c:v>
                </c:pt>
                <c:pt idx="12">
                  <c:v>3.002206063263369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oignon</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C$2:$C$14</c:f>
              <c:numCache>
                <c:formatCode>General</c:formatCode>
                <c:ptCount val="13"/>
                <c:pt idx="3">
                  <c:v>4.4275361005366644E-2</c:v>
                </c:pt>
                <c:pt idx="5">
                  <c:v>7.0573777903913226E-2</c:v>
                </c:pt>
                <c:pt idx="8">
                  <c:v>0.21077122139907115</c:v>
                </c:pt>
                <c:pt idx="9">
                  <c:v>8.797978013486810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D$2:$D$14</c:f>
              <c:numCache>
                <c:formatCode>General</c:formatCode>
                <c:ptCount val="13"/>
                <c:pt idx="3">
                  <c:v>5.2253107399629878E-2</c:v>
                </c:pt>
                <c:pt idx="5">
                  <c:v>8.8802657434521051E-2</c:v>
                </c:pt>
                <c:pt idx="8">
                  <c:v>0.1899503525949808</c:v>
                </c:pt>
                <c:pt idx="9">
                  <c:v>5.7897636301643719E-2</c:v>
                </c:pt>
                <c:pt idx="12">
                  <c:v>3.002206063263369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E$2:$E$14</c:f>
              <c:numCache>
                <c:formatCode>General</c:formatCode>
                <c:ptCount val="13"/>
                <c:pt idx="3">
                  <c:v>3.6352860861596125E-7</c:v>
                </c:pt>
                <c:pt idx="5">
                  <c:v>2.5092572307733631E-2</c:v>
                </c:pt>
                <c:pt idx="8">
                  <c:v>7.850165019267774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F$2:$F$14</c:f>
              <c:numCache>
                <c:formatCode>General</c:formatCode>
                <c:ptCount val="13"/>
                <c:pt idx="2">
                  <c:v>3.2845213709128342E-3</c:v>
                </c:pt>
                <c:pt idx="3">
                  <c:v>6.8883622324271659E-4</c:v>
                </c:pt>
                <c:pt idx="5">
                  <c:v>6.6462117870213118E-3</c:v>
                </c:pt>
                <c:pt idx="7">
                  <c:v>3.4411113190741596E-3</c:v>
                </c:pt>
                <c:pt idx="8">
                  <c:v>8.8145266435923617E-2</c:v>
                </c:pt>
                <c:pt idx="9">
                  <c:v>9.4103419547003967E-5</c:v>
                </c:pt>
                <c:pt idx="10">
                  <c:v>4.076121073001139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1.1365210675183357E-3</c:v>
                </c:pt>
                <c:pt idx="3">
                  <c:v>4.8473048402440178E-3</c:v>
                </c:pt>
                <c:pt idx="5">
                  <c:v>3.061400700725753E-2</c:v>
                </c:pt>
                <c:pt idx="7">
                  <c:v>0.18532018079823825</c:v>
                </c:pt>
                <c:pt idx="8">
                  <c:v>0.70489681660115278</c:v>
                </c:pt>
                <c:pt idx="9">
                  <c:v>6.6737756998520831E-2</c:v>
                </c:pt>
                <c:pt idx="10">
                  <c:v>6.078194301694659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C$2:$C$14</c:f>
              <c:numCache>
                <c:formatCode>General</c:formatCode>
                <c:ptCount val="13"/>
                <c:pt idx="7">
                  <c:v>0.18339214263108336</c:v>
                </c:pt>
                <c:pt idx="8">
                  <c:v>0.157485835080581</c:v>
                </c:pt>
                <c:pt idx="9">
                  <c:v>7.0224778476539566E-3</c:v>
                </c:pt>
                <c:pt idx="10">
                  <c:v>5.9821361072420328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D$2:$D$14</c:f>
              <c:numCache>
                <c:formatCode>General</c:formatCode>
                <c:ptCount val="13"/>
                <c:pt idx="7">
                  <c:v>5.6932347279614364E-7</c:v>
                </c:pt>
                <c:pt idx="8">
                  <c:v>0.1810347982256440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E$2:$E$14</c:f>
              <c:numCache>
                <c:formatCode>General</c:formatCode>
                <c:ptCount val="13"/>
                <c:pt idx="5">
                  <c:v>1.1224575664137333E-3</c:v>
                </c:pt>
                <c:pt idx="8">
                  <c:v>0.16484119757410542</c:v>
                </c:pt>
                <c:pt idx="9">
                  <c:v>1.84260815174549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F$2:$F$14</c:f>
              <c:numCache>
                <c:formatCode>General</c:formatCode>
                <c:ptCount val="13"/>
                <c:pt idx="2">
                  <c:v>1.1365210675183357E-3</c:v>
                </c:pt>
                <c:pt idx="3">
                  <c:v>4.8473048402440178E-3</c:v>
                </c:pt>
                <c:pt idx="4">
                  <c:v>2.50138930068944E-6</c:v>
                </c:pt>
                <c:pt idx="5">
                  <c:v>1.2718928647573422E-7</c:v>
                </c:pt>
                <c:pt idx="6">
                  <c:v>2.9491549440843798E-2</c:v>
                </c:pt>
                <c:pt idx="7">
                  <c:v>1.9274688436821017E-3</c:v>
                </c:pt>
                <c:pt idx="8">
                  <c:v>0.20153498572082221</c:v>
                </c:pt>
                <c:pt idx="9">
                  <c:v>4.1289197633411961E-2</c:v>
                </c:pt>
                <c:pt idx="10">
                  <c:v>9.6058194452625952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6.9766865028658774E-4</c:v>
                </c:pt>
                <c:pt idx="1">
                  <c:v>1.4491880932194251E-3</c:v>
                </c:pt>
                <c:pt idx="4">
                  <c:v>4.4576960941318028E-3</c:v>
                </c:pt>
                <c:pt idx="6">
                  <c:v>3.0277145264557645E-2</c:v>
                </c:pt>
                <c:pt idx="7">
                  <c:v>0.70390349968817845</c:v>
                </c:pt>
                <c:pt idx="8">
                  <c:v>0.13449200745841194</c:v>
                </c:pt>
                <c:pt idx="9">
                  <c:v>1.0069558173919621E-2</c:v>
                </c:pt>
                <c:pt idx="10">
                  <c:v>0.1146532365772945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49 GR</c:v>
                </c:pt>
                <c:pt idx="10">
                  <c:v>50-150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Istara</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49 GR</c:v>
                </c:pt>
                <c:pt idx="10">
                  <c:v>50-150 GR</c:v>
                </c:pt>
                <c:pt idx="11">
                  <c:v>0-49 GR</c:v>
                </c:pt>
                <c:pt idx="12">
                  <c:v>0-50 GR</c:v>
                </c:pt>
              </c:strCache>
            </c:strRef>
          </c:cat>
          <c:val>
            <c:numRef>
              <c:f>Sheet1!$C$2:$C$14</c:f>
              <c:numCache>
                <c:formatCode>General</c:formatCode>
                <c:ptCount val="13"/>
                <c:pt idx="7">
                  <c:v>0.1861340303796392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ou Pera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49 GR</c:v>
                </c:pt>
                <c:pt idx="10">
                  <c:v>50-150 GR</c:v>
                </c:pt>
                <c:pt idx="11">
                  <c:v>0-49 GR</c:v>
                </c:pt>
                <c:pt idx="12">
                  <c:v>0-50 GR</c:v>
                </c:pt>
              </c:strCache>
            </c:strRef>
          </c:cat>
          <c:val>
            <c:numRef>
              <c:f>Sheet1!$D$2:$D$14</c:f>
              <c:numCache>
                <c:formatCode>General</c:formatCode>
                <c:ptCount val="13"/>
                <c:pt idx="7">
                  <c:v>0.17811388833158634</c:v>
                </c:pt>
                <c:pt idx="10">
                  <c:v>2.073930580542019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49 GR</c:v>
                </c:pt>
                <c:pt idx="10">
                  <c:v>50-150 GR</c:v>
                </c:pt>
                <c:pt idx="11">
                  <c:v>0-49 GR</c:v>
                </c:pt>
                <c:pt idx="12">
                  <c:v>0-50 GR</c:v>
                </c:pt>
              </c:strCache>
            </c:strRef>
          </c:cat>
          <c:val>
            <c:numRef>
              <c:f>Sheet1!$E$2:$E$14</c:f>
              <c:numCache>
                <c:formatCode>General</c:formatCode>
                <c:ptCount val="13"/>
                <c:pt idx="0">
                  <c:v>8.671674918966323E-5</c:v>
                </c:pt>
                <c:pt idx="7">
                  <c:v>7.9365884543051921E-2</c:v>
                </c:pt>
                <c:pt idx="8">
                  <c:v>0.12535820324438682</c:v>
                </c:pt>
                <c:pt idx="9">
                  <c:v>9.8713980580000041E-3</c:v>
                </c:pt>
                <c:pt idx="10">
                  <c:v>6.2286002408395696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49 GR</c:v>
                </c:pt>
                <c:pt idx="10">
                  <c:v>50-150 GR</c:v>
                </c:pt>
                <c:pt idx="11">
                  <c:v>0-49 GR</c:v>
                </c:pt>
                <c:pt idx="12">
                  <c:v>0-50 GR</c:v>
                </c:pt>
              </c:strCache>
            </c:strRef>
          </c:cat>
          <c:val>
            <c:numRef>
              <c:f>Sheet1!$F$2:$F$14</c:f>
              <c:numCache>
                <c:formatCode>General</c:formatCode>
                <c:ptCount val="13"/>
                <c:pt idx="0">
                  <c:v>6.1095190109692449E-4</c:v>
                </c:pt>
                <c:pt idx="1">
                  <c:v>1.4491880932194251E-3</c:v>
                </c:pt>
                <c:pt idx="4">
                  <c:v>4.4576960941318028E-3</c:v>
                </c:pt>
                <c:pt idx="6">
                  <c:v>3.0277145264557642E-2</c:v>
                </c:pt>
                <c:pt idx="7">
                  <c:v>9.1338042140251142E-3</c:v>
                </c:pt>
                <c:pt idx="8">
                  <c:v>0.26028969643390099</c:v>
                </c:pt>
                <c:pt idx="9">
                  <c:v>8.7685330531034777E-2</c:v>
                </c:pt>
                <c:pt idx="10">
                  <c:v>1.9816011591961742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6">
                  <c:v>4.3253304601556915E-2</c:v>
                </c:pt>
                <c:pt idx="7">
                  <c:v>0.86281742512960802</c:v>
                </c:pt>
                <c:pt idx="10">
                  <c:v>9.336604484905444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49 GR</c:v>
                </c:pt>
                <c:pt idx="10">
                  <c:v>50-150 GR</c:v>
                </c:pt>
                <c:pt idx="11">
                  <c:v>0-50 GR</c:v>
                </c:pt>
                <c:pt idx="12">
                  <c:v>0-49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Istara</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49 GR</c:v>
                </c:pt>
                <c:pt idx="10">
                  <c:v>50-150 GR</c:v>
                </c:pt>
                <c:pt idx="11">
                  <c:v>0-50 GR</c:v>
                </c:pt>
                <c:pt idx="12">
                  <c:v>0-49 GR</c:v>
                </c:pt>
              </c:strCache>
            </c:strRef>
          </c:cat>
          <c:val>
            <c:numRef>
              <c:f>Sheet1!$C$2:$C$14</c:f>
              <c:numCache>
                <c:formatCode>General</c:formatCode>
                <c:ptCount val="13"/>
                <c:pt idx="7">
                  <c:v>0.2676124875882950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49 GR</c:v>
                </c:pt>
                <c:pt idx="10">
                  <c:v>50-150 GR</c:v>
                </c:pt>
                <c:pt idx="11">
                  <c:v>0-50 GR</c:v>
                </c:pt>
                <c:pt idx="12">
                  <c:v>0-49 GR</c:v>
                </c:pt>
              </c:strCache>
            </c:strRef>
          </c:cat>
          <c:val>
            <c:numRef>
              <c:f>Sheet1!$D$2:$D$14</c:f>
              <c:numCache>
                <c:formatCode>General</c:formatCode>
                <c:ptCount val="13"/>
                <c:pt idx="7">
                  <c:v>0.26754454081973494</c:v>
                </c:pt>
                <c:pt idx="10">
                  <c:v>2.276578368223142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49 GR</c:v>
                </c:pt>
                <c:pt idx="10">
                  <c:v>50-150 GR</c:v>
                </c:pt>
                <c:pt idx="11">
                  <c:v>0-50 GR</c:v>
                </c:pt>
                <c:pt idx="12">
                  <c:v>0-49 GR</c:v>
                </c:pt>
              </c:strCache>
            </c:strRef>
          </c:cat>
          <c:val>
            <c:numRef>
              <c:f>Sheet1!$E$2:$E$14</c:f>
              <c:numCache>
                <c:formatCode>General</c:formatCode>
                <c:ptCount val="13"/>
                <c:pt idx="7">
                  <c:v>0.16700735214488155</c:v>
                </c:pt>
                <c:pt idx="10">
                  <c:v>2.720587661513941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49 GR</c:v>
                </c:pt>
                <c:pt idx="10">
                  <c:v>50-150 GR</c:v>
                </c:pt>
                <c:pt idx="11">
                  <c:v>0-50 GR</c:v>
                </c:pt>
                <c:pt idx="12">
                  <c:v>0-49 GR</c:v>
                </c:pt>
              </c:strCache>
            </c:strRef>
          </c:cat>
          <c:val>
            <c:numRef>
              <c:f>Sheet1!$F$2:$F$14</c:f>
              <c:numCache>
                <c:formatCode>General</c:formatCode>
                <c:ptCount val="13"/>
                <c:pt idx="6">
                  <c:v>4.3253304601556915E-2</c:v>
                </c:pt>
                <c:pt idx="7">
                  <c:v>0.16065304457669638</c:v>
                </c:pt>
                <c:pt idx="10">
                  <c:v>4.339438455168360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3150243301704233E-3</c:v>
                </c:pt>
                <c:pt idx="1">
                  <c:v>3.1961258290724277E-2</c:v>
                </c:pt>
                <c:pt idx="3">
                  <c:v>2.0730484529548742E-3</c:v>
                </c:pt>
                <c:pt idx="4">
                  <c:v>2.3475277936841061E-3</c:v>
                </c:pt>
                <c:pt idx="5">
                  <c:v>0.38162748586160972</c:v>
                </c:pt>
                <c:pt idx="8">
                  <c:v>0.56629855976839949</c:v>
                </c:pt>
                <c:pt idx="10">
                  <c:v>1.4377095502457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2.9517962603237375E-2</c:v>
                </c:pt>
                <c:pt idx="1">
                  <c:v>0.15609582739574643</c:v>
                </c:pt>
                <c:pt idx="4">
                  <c:v>2.4981692301340005E-2</c:v>
                </c:pt>
                <c:pt idx="6">
                  <c:v>0.33239380805694496</c:v>
                </c:pt>
                <c:pt idx="7">
                  <c:v>0.44152779138195869</c:v>
                </c:pt>
                <c:pt idx="9">
                  <c:v>1.542109814398873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C$2:$C$14</c:f>
              <c:numCache>
                <c:formatCode>General</c:formatCode>
                <c:ptCount val="13"/>
                <c:pt idx="0">
                  <c:v>5.6032246709345913E-3</c:v>
                </c:pt>
                <c:pt idx="1">
                  <c:v>4.919947053983257E-2</c:v>
                </c:pt>
                <c:pt idx="4">
                  <c:v>1.3505438663336689E-2</c:v>
                </c:pt>
                <c:pt idx="6">
                  <c:v>0.12289156978116038</c:v>
                </c:pt>
                <c:pt idx="7">
                  <c:v>0.18569110833104732</c:v>
                </c:pt>
                <c:pt idx="9">
                  <c:v>4.015616843895275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D$2:$D$14</c:f>
              <c:numCache>
                <c:formatCode>General</c:formatCode>
                <c:ptCount val="13"/>
                <c:pt idx="1">
                  <c:v>3.2172449604721029E-2</c:v>
                </c:pt>
                <c:pt idx="6">
                  <c:v>6.7868026018800515E-2</c:v>
                </c:pt>
                <c:pt idx="7">
                  <c:v>4.0753274475057045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E$2:$E$14</c:f>
              <c:numCache>
                <c:formatCode>General</c:formatCode>
                <c:ptCount val="13"/>
                <c:pt idx="1">
                  <c:v>2.4947147498910883E-3</c:v>
                </c:pt>
                <c:pt idx="6">
                  <c:v>4.7286741616016793E-2</c:v>
                </c:pt>
                <c:pt idx="7">
                  <c:v>6.1364254645171886E-3</c:v>
                </c:pt>
                <c:pt idx="9">
                  <c:v>6.0247127192103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F$2:$F$14</c:f>
              <c:numCache>
                <c:formatCode>General</c:formatCode>
                <c:ptCount val="13"/>
                <c:pt idx="0">
                  <c:v>2.3914737932302785E-2</c:v>
                </c:pt>
                <c:pt idx="1">
                  <c:v>7.2229192501301734E-2</c:v>
                </c:pt>
                <c:pt idx="4">
                  <c:v>1.1476253638003316E-2</c:v>
                </c:pt>
                <c:pt idx="6">
                  <c:v>9.4347470640967268E-2</c:v>
                </c:pt>
                <c:pt idx="7">
                  <c:v>0.24562493013888845</c:v>
                </c:pt>
                <c:pt idx="8">
                  <c:v>5.5743580764115142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6.295936018988206E-2</c:v>
                </c:pt>
                <c:pt idx="1">
                  <c:v>0.15937207117371918</c:v>
                </c:pt>
                <c:pt idx="4">
                  <c:v>3.7684488257838142E-2</c:v>
                </c:pt>
                <c:pt idx="6">
                  <c:v>0.26112921429863634</c:v>
                </c:pt>
                <c:pt idx="7">
                  <c:v>0.46450291190561643</c:v>
                </c:pt>
                <c:pt idx="9">
                  <c:v>1.43512567817688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C$2:$C$14</c:f>
              <c:numCache>
                <c:formatCode>General</c:formatCode>
                <c:ptCount val="13"/>
                <c:pt idx="0">
                  <c:v>2.9026544909140497E-2</c:v>
                </c:pt>
                <c:pt idx="1">
                  <c:v>4.9076295754269951E-2</c:v>
                </c:pt>
                <c:pt idx="4">
                  <c:v>1.8743264202139311E-2</c:v>
                </c:pt>
                <c:pt idx="6">
                  <c:v>8.2009121296644588E-2</c:v>
                </c:pt>
                <c:pt idx="7">
                  <c:v>0.17396774269164286</c:v>
                </c:pt>
                <c:pt idx="9">
                  <c:v>4.3189377612882556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D$2:$D$14</c:f>
              <c:numCache>
                <c:formatCode>General</c:formatCode>
                <c:ptCount val="13"/>
                <c:pt idx="1">
                  <c:v>2.5508156852576954E-2</c:v>
                </c:pt>
                <c:pt idx="6">
                  <c:v>5.3635720081493594E-2</c:v>
                </c:pt>
                <c:pt idx="7">
                  <c:v>7.0561465467092674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E$2:$E$14</c:f>
              <c:numCache>
                <c:formatCode>General</c:formatCode>
                <c:ptCount val="13"/>
                <c:pt idx="1">
                  <c:v>1.7297754491382299E-3</c:v>
                </c:pt>
                <c:pt idx="6">
                  <c:v>4.0675177882420498E-2</c:v>
                </c:pt>
                <c:pt idx="7">
                  <c:v>3.3293519810025716E-3</c:v>
                </c:pt>
                <c:pt idx="9">
                  <c:v>4.9331271006014781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F$2:$F$14</c:f>
              <c:numCache>
                <c:formatCode>General</c:formatCode>
                <c:ptCount val="13"/>
                <c:pt idx="0">
                  <c:v>3.393281528074156E-2</c:v>
                </c:pt>
                <c:pt idx="1">
                  <c:v>8.3057843117734051E-2</c:v>
                </c:pt>
                <c:pt idx="4">
                  <c:v>1.8941224055698834E-2</c:v>
                </c:pt>
                <c:pt idx="6">
                  <c:v>8.4809195038077698E-2</c:v>
                </c:pt>
                <c:pt idx="7">
                  <c:v>0.28014967068626173</c:v>
                </c:pt>
                <c:pt idx="9">
                  <c:v>9.5390063104204351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7240477465735825E-3</c:v>
                </c:pt>
                <c:pt idx="1">
                  <c:v>0.13191205784668772</c:v>
                </c:pt>
                <c:pt idx="4">
                  <c:v>1.954729740219114E-2</c:v>
                </c:pt>
                <c:pt idx="6">
                  <c:v>0.39049046490337336</c:v>
                </c:pt>
                <c:pt idx="7">
                  <c:v>0.44042776777347037</c:v>
                </c:pt>
                <c:pt idx="9">
                  <c:v>1.566037301653282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C$2:$C$14</c:f>
              <c:numCache>
                <c:formatCode>General</c:formatCode>
                <c:ptCount val="13"/>
                <c:pt idx="1">
                  <c:v>4.8509220082580955E-2</c:v>
                </c:pt>
                <c:pt idx="4">
                  <c:v>1.3243685638868293E-2</c:v>
                </c:pt>
                <c:pt idx="6">
                  <c:v>0.15768088475932499</c:v>
                </c:pt>
                <c:pt idx="7">
                  <c:v>0.20304789096380393</c:v>
                </c:pt>
                <c:pt idx="9">
                  <c:v>7.9758331768185389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D$2:$D$14</c:f>
              <c:numCache>
                <c:formatCode>General</c:formatCode>
                <c:ptCount val="13"/>
                <c:pt idx="1">
                  <c:v>4.2569691260516011E-2</c:v>
                </c:pt>
                <c:pt idx="6">
                  <c:v>7.527098590609603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E$2:$E$14</c:f>
              <c:numCache>
                <c:formatCode>General</c:formatCode>
                <c:ptCount val="13"/>
                <c:pt idx="1">
                  <c:v>3.4252939304002367E-3</c:v>
                </c:pt>
                <c:pt idx="6">
                  <c:v>5.8828512541319086E-2</c:v>
                </c:pt>
                <c:pt idx="7">
                  <c:v>7.5117066925023662E-3</c:v>
                </c:pt>
                <c:pt idx="9">
                  <c:v>4.2414785673363243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F$2:$F$14</c:f>
              <c:numCache>
                <c:formatCode>General</c:formatCode>
                <c:ptCount val="13"/>
                <c:pt idx="0">
                  <c:v>1.7240477465735825E-3</c:v>
                </c:pt>
                <c:pt idx="1">
                  <c:v>3.7407852573190507E-2</c:v>
                </c:pt>
                <c:pt idx="4">
                  <c:v>6.3036117633228483E-3</c:v>
                </c:pt>
                <c:pt idx="5">
                  <c:v>1.0321417456449752E-5</c:v>
                </c:pt>
                <c:pt idx="6">
                  <c:v>9.8710081696633256E-2</c:v>
                </c:pt>
                <c:pt idx="7">
                  <c:v>0.22986817011716404</c:v>
                </c:pt>
                <c:pt idx="8">
                  <c:v>2.2766989371461347E-4</c:v>
                </c:pt>
                <c:pt idx="10">
                  <c:v>7.2603919829806567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B$2:$B$14</c:f>
              <c:numCache>
                <c:formatCode>General</c:formatCode>
                <c:ptCount val="13"/>
                <c:pt idx="4">
                  <c:v>3.6451473003585645E-3</c:v>
                </c:pt>
                <c:pt idx="6">
                  <c:v>1.7075965277870697E-3</c:v>
                </c:pt>
                <c:pt idx="7">
                  <c:v>6.0714671271283804E-8</c:v>
                </c:pt>
                <c:pt idx="8">
                  <c:v>6.3088928781969604E-3</c:v>
                </c:pt>
                <c:pt idx="10">
                  <c:v>3.1347977822410891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C$2:$C$14</c:f>
              <c:numCache>
                <c:formatCode>General</c:formatCode>
                <c:ptCount val="13"/>
                <c:pt idx="0">
                  <c:v>1.3548527517377108E-2</c:v>
                </c:pt>
                <c:pt idx="1">
                  <c:v>5.1983998017056778E-3</c:v>
                </c:pt>
                <c:pt idx="2">
                  <c:v>3.7607239544030252E-2</c:v>
                </c:pt>
                <c:pt idx="3">
                  <c:v>1.668666846552146E-2</c:v>
                </c:pt>
                <c:pt idx="4">
                  <c:v>4.5390071882078976E-2</c:v>
                </c:pt>
                <c:pt idx="5">
                  <c:v>2.5987290920216524E-2</c:v>
                </c:pt>
                <c:pt idx="6">
                  <c:v>6.328677525627377E-2</c:v>
                </c:pt>
                <c:pt idx="7">
                  <c:v>5.1067649106249891E-2</c:v>
                </c:pt>
                <c:pt idx="8">
                  <c:v>0.12471537298161155</c:v>
                </c:pt>
                <c:pt idx="9">
                  <c:v>2.6229088256249415E-2</c:v>
                </c:pt>
                <c:pt idx="10">
                  <c:v>4.6830532474668528E-2</c:v>
                </c:pt>
                <c:pt idx="11">
                  <c:v>7.4941932472317042E-4</c:v>
                </c:pt>
                <c:pt idx="12">
                  <c:v>5.5120431750969958E-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D$2:$D$14</c:f>
              <c:numCache>
                <c:formatCode>General</c:formatCode>
                <c:ptCount val="13"/>
                <c:pt idx="0">
                  <c:v>7.3981817416450817E-4</c:v>
                </c:pt>
                <c:pt idx="2">
                  <c:v>3.4063993329637183E-3</c:v>
                </c:pt>
                <c:pt idx="4">
                  <c:v>1.1114941482237012E-2</c:v>
                </c:pt>
                <c:pt idx="5">
                  <c:v>1.1239970741707966E-4</c:v>
                </c:pt>
                <c:pt idx="6">
                  <c:v>1.7698640668190612E-2</c:v>
                </c:pt>
                <c:pt idx="7">
                  <c:v>1.1576950030541404E-9</c:v>
                </c:pt>
                <c:pt idx="8">
                  <c:v>2.0646809654808796E-2</c:v>
                </c:pt>
                <c:pt idx="9">
                  <c:v>1.2503106032984716E-7</c:v>
                </c:pt>
                <c:pt idx="10">
                  <c:v>3.0595317852108615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E$2:$E$14</c:f>
              <c:numCache>
                <c:formatCode>General</c:formatCode>
                <c:ptCount val="13"/>
                <c:pt idx="0">
                  <c:v>2.3342990244914982E-6</c:v>
                </c:pt>
                <c:pt idx="2">
                  <c:v>3.488649575314593E-5</c:v>
                </c:pt>
                <c:pt idx="4">
                  <c:v>3.4841653080366522E-3</c:v>
                </c:pt>
                <c:pt idx="6">
                  <c:v>5.1001587041759507E-3</c:v>
                </c:pt>
                <c:pt idx="8">
                  <c:v>1.6995231744606602E-2</c:v>
                </c:pt>
                <c:pt idx="10">
                  <c:v>1.754320583579222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49 GR</c:v>
                </c:pt>
                <c:pt idx="10">
                  <c:v>50-150 GR</c:v>
                </c:pt>
                <c:pt idx="11">
                  <c:v>0-50 GR</c:v>
                </c:pt>
                <c:pt idx="12">
                  <c:v>0-49 GR</c:v>
                </c:pt>
              </c:strCache>
            </c:strRef>
          </c:cat>
          <c:val>
            <c:numRef>
              <c:f>Sheet1!$F$2:$F$14</c:f>
              <c:numCache>
                <c:formatCode>General</c:formatCode>
                <c:ptCount val="13"/>
                <c:pt idx="0">
                  <c:v>1.283146036541262E-2</c:v>
                </c:pt>
                <c:pt idx="1">
                  <c:v>3.7705598855083066E-4</c:v>
                </c:pt>
                <c:pt idx="2">
                  <c:v>2.7098686612911857E-2</c:v>
                </c:pt>
                <c:pt idx="3">
                  <c:v>7.0043300426227194E-4</c:v>
                </c:pt>
                <c:pt idx="4">
                  <c:v>4.6646129540638168E-2</c:v>
                </c:pt>
                <c:pt idx="5">
                  <c:v>8.2410158620630251E-4</c:v>
                </c:pt>
                <c:pt idx="6">
                  <c:v>0.11954322429999846</c:v>
                </c:pt>
                <c:pt idx="7">
                  <c:v>8.8964641829588427E-4</c:v>
                </c:pt>
                <c:pt idx="8">
                  <c:v>0.16217989252882917</c:v>
                </c:pt>
                <c:pt idx="9">
                  <c:v>5.1063225296377667E-4</c:v>
                </c:pt>
                <c:pt idx="10">
                  <c:v>7.2044651384518668E-2</c:v>
                </c:pt>
                <c:pt idx="11">
                  <c:v>5.5986130347698227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C$2:$C$14</c:f>
              <c:numCache>
                <c:formatCode>General</c:formatCode>
                <c:ptCount val="13"/>
                <c:pt idx="0">
                  <c:v>1.060342799291042E-6</c:v>
                </c:pt>
                <c:pt idx="4">
                  <c:v>1.1867228514562073E-3</c:v>
                </c:pt>
                <c:pt idx="5">
                  <c:v>0.23688913526795938</c:v>
                </c:pt>
                <c:pt idx="8">
                  <c:v>0.31052419263186432</c:v>
                </c:pt>
                <c:pt idx="10">
                  <c:v>1.1288238647781405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D$2:$D$14</c:f>
              <c:numCache>
                <c:formatCode>General</c:formatCode>
                <c:ptCount val="13"/>
                <c:pt idx="0">
                  <c:v>1.6011887908757345E-6</c:v>
                </c:pt>
                <c:pt idx="5">
                  <c:v>8.9076694338482518E-2</c:v>
                </c:pt>
                <c:pt idx="8">
                  <c:v>0.1543302400216156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Vache Qui Ri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E$2:$E$14</c:f>
              <c:numCache>
                <c:formatCode>General</c:formatCode>
                <c:ptCount val="13"/>
                <c:pt idx="0">
                  <c:v>1.1172739562999571E-6</c:v>
                </c:pt>
                <c:pt idx="5">
                  <c:v>5.1615494878992614E-3</c:v>
                </c:pt>
                <c:pt idx="8">
                  <c:v>3.683558297511893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F$2:$F$14</c:f>
              <c:numCache>
                <c:formatCode>General</c:formatCode>
                <c:ptCount val="13"/>
                <c:pt idx="0">
                  <c:v>1.3112455246239566E-3</c:v>
                </c:pt>
                <c:pt idx="1">
                  <c:v>3.1961258290724277E-2</c:v>
                </c:pt>
                <c:pt idx="3">
                  <c:v>1.1608049422278987E-3</c:v>
                </c:pt>
                <c:pt idx="4">
                  <c:v>2.0730484529548742E-3</c:v>
                </c:pt>
                <c:pt idx="5">
                  <c:v>5.0500106767268578E-2</c:v>
                </c:pt>
                <c:pt idx="8">
                  <c:v>6.4608544139800606E-2</c:v>
                </c:pt>
                <c:pt idx="10">
                  <c:v>1.324827163767895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7.1338356994032058E-4</c:v>
                </c:pt>
                <c:pt idx="1">
                  <c:v>1.9618191826917E-2</c:v>
                </c:pt>
                <c:pt idx="4">
                  <c:v>7.402755160323117E-4</c:v>
                </c:pt>
                <c:pt idx="6">
                  <c:v>0.32972950609608243</c:v>
                </c:pt>
                <c:pt idx="7">
                  <c:v>0.64555949613227182</c:v>
                </c:pt>
                <c:pt idx="9">
                  <c:v>3.639146858756374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C$2:$C$14</c:f>
              <c:numCache>
                <c:formatCode>General</c:formatCode>
                <c:ptCount val="13"/>
                <c:pt idx="6">
                  <c:v>0.23728694740785775</c:v>
                </c:pt>
                <c:pt idx="7">
                  <c:v>0.2735284991421009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D$2:$D$14</c:f>
              <c:numCache>
                <c:formatCode>General</c:formatCode>
                <c:ptCount val="13"/>
                <c:pt idx="0">
                  <c:v>1.2928820236534203E-5</c:v>
                </c:pt>
                <c:pt idx="6">
                  <c:v>5.3712525096276616E-2</c:v>
                </c:pt>
                <c:pt idx="7">
                  <c:v>0.2029274871315142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Vache Qui Ri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E$2:$E$14</c:f>
              <c:numCache>
                <c:formatCode>General</c:formatCode>
                <c:ptCount val="13"/>
                <c:pt idx="6">
                  <c:v>2.9982796049871918E-3</c:v>
                </c:pt>
                <c:pt idx="7">
                  <c:v>9.269665310194001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F$2:$F$14</c:f>
              <c:numCache>
                <c:formatCode>General</c:formatCode>
                <c:ptCount val="13"/>
                <c:pt idx="0">
                  <c:v>7.0045474970378634E-4</c:v>
                </c:pt>
                <c:pt idx="1">
                  <c:v>1.9618191826917E-2</c:v>
                </c:pt>
                <c:pt idx="4">
                  <c:v>7.402755160323117E-4</c:v>
                </c:pt>
                <c:pt idx="6">
                  <c:v>3.5731753986960851E-2</c:v>
                </c:pt>
                <c:pt idx="7">
                  <c:v>7.6406856756716379E-2</c:v>
                </c:pt>
                <c:pt idx="9">
                  <c:v>3.639146858756374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8809060429939978E-3</c:v>
                </c:pt>
                <c:pt idx="1">
                  <c:v>4.8549042425449891E-2</c:v>
                </c:pt>
                <c:pt idx="3">
                  <c:v>8.2437754753488194E-3</c:v>
                </c:pt>
                <c:pt idx="4">
                  <c:v>2.2353924353407596E-3</c:v>
                </c:pt>
                <c:pt idx="5">
                  <c:v>0.47110126521021412</c:v>
                </c:pt>
                <c:pt idx="8">
                  <c:v>0.45221803035632874</c:v>
                </c:pt>
                <c:pt idx="10">
                  <c:v>1.577158805432363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C$2:$C$14</c:f>
              <c:numCache>
                <c:formatCode>General</c:formatCode>
                <c:ptCount val="13"/>
                <c:pt idx="5">
                  <c:v>0.25417928023357728</c:v>
                </c:pt>
                <c:pt idx="8">
                  <c:v>0.2016954275330594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D$2:$D$14</c:f>
              <c:numCache>
                <c:formatCode>General</c:formatCode>
                <c:ptCount val="13"/>
                <c:pt idx="5">
                  <c:v>0.16411194593106165</c:v>
                </c:pt>
                <c:pt idx="8">
                  <c:v>0.1974017726583621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E$2:$E$14</c:f>
              <c:numCache>
                <c:formatCode>General</c:formatCode>
                <c:ptCount val="13"/>
                <c:pt idx="1">
                  <c:v>3.340101761310043E-2</c:v>
                </c:pt>
                <c:pt idx="5">
                  <c:v>2.4217029666656571E-2</c:v>
                </c:pt>
                <c:pt idx="8">
                  <c:v>9.5220603113627799E-3</c:v>
                </c:pt>
                <c:pt idx="10">
                  <c:v>4.0924132384225218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49 GR</c:v>
                </c:pt>
                <c:pt idx="10">
                  <c:v>50-150 GR</c:v>
                </c:pt>
                <c:pt idx="11">
                  <c:v>0-50 GR</c:v>
                </c:pt>
                <c:pt idx="12">
                  <c:v>0-49 GR</c:v>
                </c:pt>
              </c:strCache>
            </c:strRef>
          </c:cat>
          <c:val>
            <c:numRef>
              <c:f>Sheet1!$F$2:$F$14</c:f>
              <c:numCache>
                <c:formatCode>General</c:formatCode>
                <c:ptCount val="13"/>
                <c:pt idx="0">
                  <c:v>1.8809060429939978E-3</c:v>
                </c:pt>
                <c:pt idx="1">
                  <c:v>1.5148024812349462E-2</c:v>
                </c:pt>
                <c:pt idx="3">
                  <c:v>2.2353924353407596E-3</c:v>
                </c:pt>
                <c:pt idx="4">
                  <c:v>8.2437754753488194E-3</c:v>
                </c:pt>
                <c:pt idx="5">
                  <c:v>2.8593009378918673E-2</c:v>
                </c:pt>
                <c:pt idx="8">
                  <c:v>4.3598769853544425E-2</c:v>
                </c:pt>
                <c:pt idx="10">
                  <c:v>1.167917481590111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3">
                  <c:v>0.25950000000000001</c:v>
                </c:pt>
                <c:pt idx="5">
                  <c:v>0.1216</c:v>
                </c:pt>
                <c:pt idx="7">
                  <c:v>0.4224</c:v>
                </c:pt>
                <c:pt idx="10">
                  <c:v>0.1963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1.094197216483182E-2</c:v>
                </c:pt>
                <c:pt idx="2">
                  <c:v>9.6880276114732294E-2</c:v>
                </c:pt>
                <c:pt idx="3">
                  <c:v>5.3446014819036151E-2</c:v>
                </c:pt>
                <c:pt idx="4">
                  <c:v>0.17693155055074417</c:v>
                </c:pt>
                <c:pt idx="5">
                  <c:v>2.2104341013370931E-3</c:v>
                </c:pt>
                <c:pt idx="6">
                  <c:v>0.15056949109524098</c:v>
                </c:pt>
                <c:pt idx="7">
                  <c:v>4.2047893689314997E-2</c:v>
                </c:pt>
                <c:pt idx="8">
                  <c:v>0.29352518203765332</c:v>
                </c:pt>
                <c:pt idx="9">
                  <c:v>0.16639940016881108</c:v>
                </c:pt>
                <c:pt idx="10">
                  <c:v>6.693498475671169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4">
                  <c:v>5.2332068254325133E-2</c:v>
                </c:pt>
                <c:pt idx="6">
                  <c:v>2.4515348950153868E-2</c:v>
                </c:pt>
                <c:pt idx="7">
                  <c:v>8.7165869008783035E-7</c:v>
                </c:pt>
                <c:pt idx="8">
                  <c:v>8.5178876856365007E-2</c:v>
                </c:pt>
                <c:pt idx="9">
                  <c:v>3.961192528885573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La Vache Qui Ri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50 GR</c:v>
                </c:pt>
                <c:pt idx="10">
                  <c:v>50-149 GR</c:v>
                </c:pt>
                <c:pt idx="11">
                  <c:v>0-49 GR</c:v>
                </c:pt>
                <c:pt idx="12">
                  <c:v>0-50 GR</c:v>
                </c:pt>
              </c:strCache>
            </c:strRef>
          </c:cat>
          <c:val>
            <c:numRef>
              <c:f>Sheet1!$C$2:$C$14</c:f>
              <c:numCache>
                <c:formatCode>General</c:formatCode>
                <c:ptCount val="13"/>
                <c:pt idx="2">
                  <c:v>9.318942391174119E-2</c:v>
                </c:pt>
                <c:pt idx="4">
                  <c:v>5.5137933884248834E-2</c:v>
                </c:pt>
                <c:pt idx="5">
                  <c:v>5.3555300874040423E-8</c:v>
                </c:pt>
                <c:pt idx="6">
                  <c:v>3.4736632971327265E-2</c:v>
                </c:pt>
                <c:pt idx="8">
                  <c:v>6.7670136525075128E-2</c:v>
                </c:pt>
                <c:pt idx="9">
                  <c:v>1.347819054832375E-2</c:v>
                </c:pt>
                <c:pt idx="10">
                  <c:v>9.7876929183591113E-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Mini Baby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50 GR</c:v>
                </c:pt>
                <c:pt idx="10">
                  <c:v>50-149 GR</c:v>
                </c:pt>
                <c:pt idx="11">
                  <c:v>0-49 GR</c:v>
                </c:pt>
                <c:pt idx="12">
                  <c:v>0-50 GR</c:v>
                </c:pt>
              </c:strCache>
            </c:strRef>
          </c:cat>
          <c:val>
            <c:numRef>
              <c:f>Sheet1!$D$2:$D$14</c:f>
              <c:numCache>
                <c:formatCode>General</c:formatCode>
                <c:ptCount val="13"/>
                <c:pt idx="1">
                  <c:v>5.4007990905187101E-3</c:v>
                </c:pt>
                <c:pt idx="2">
                  <c:v>4.9861831848244531E-8</c:v>
                </c:pt>
                <c:pt idx="3">
                  <c:v>6.9032062600178079E-3</c:v>
                </c:pt>
                <c:pt idx="4">
                  <c:v>2.8129901470010092E-2</c:v>
                </c:pt>
                <c:pt idx="6">
                  <c:v>8.9897595634951935E-2</c:v>
                </c:pt>
                <c:pt idx="7">
                  <c:v>2.9386052132417788E-3</c:v>
                </c:pt>
                <c:pt idx="8">
                  <c:v>4.1592608996177706E-2</c:v>
                </c:pt>
                <c:pt idx="9">
                  <c:v>7.0429619570972879E-2</c:v>
                </c:pt>
                <c:pt idx="10">
                  <c:v>1.3940352480787078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50 GR</c:v>
                </c:pt>
                <c:pt idx="10">
                  <c:v>50-149 GR</c:v>
                </c:pt>
                <c:pt idx="11">
                  <c:v>0-49 GR</c:v>
                </c:pt>
                <c:pt idx="12">
                  <c:v>0-50 GR</c:v>
                </c:pt>
              </c:strCache>
            </c:strRef>
          </c:cat>
          <c:val>
            <c:numRef>
              <c:f>Sheet1!$E$2:$E$14</c:f>
              <c:numCache>
                <c:formatCode>General</c:formatCode>
                <c:ptCount val="13"/>
                <c:pt idx="1">
                  <c:v>5.5411730743131085E-3</c:v>
                </c:pt>
                <c:pt idx="2">
                  <c:v>3.6908023411592666E-3</c:v>
                </c:pt>
                <c:pt idx="3">
                  <c:v>4.6542808559018344E-2</c:v>
                </c:pt>
                <c:pt idx="4">
                  <c:v>3.8093706378457201E-2</c:v>
                </c:pt>
                <c:pt idx="5">
                  <c:v>2.2103805460362189E-3</c:v>
                </c:pt>
                <c:pt idx="6">
                  <c:v>1.4198599835070725E-3</c:v>
                </c:pt>
                <c:pt idx="7">
                  <c:v>3.9108416817383133E-2</c:v>
                </c:pt>
                <c:pt idx="8">
                  <c:v>3.8513738756477789E-2</c:v>
                </c:pt>
                <c:pt idx="9">
                  <c:v>4.8314526869267863E-3</c:v>
                </c:pt>
                <c:pt idx="10">
                  <c:v>5.2993136420969164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49 GR</c:v>
                </c:pt>
                <c:pt idx="8">
                  <c:v>150-250 GR</c:v>
                </c:pt>
                <c:pt idx="9">
                  <c:v>50-150 GR</c:v>
                </c:pt>
                <c:pt idx="10">
                  <c:v>50-149 GR</c:v>
                </c:pt>
                <c:pt idx="11">
                  <c:v>0-49 GR</c:v>
                </c:pt>
                <c:pt idx="12">
                  <c:v>0-50 GR</c:v>
                </c:pt>
              </c:strCache>
            </c:strRef>
          </c:cat>
          <c:val>
            <c:numRef>
              <c:f>Sheet1!$F$2:$F$14</c:f>
              <c:numCache>
                <c:formatCode>General</c:formatCode>
                <c:ptCount val="13"/>
                <c:pt idx="4">
                  <c:v>3.2379405637028937E-3</c:v>
                </c:pt>
                <c:pt idx="6">
                  <c:v>5.3555300874040423E-8</c:v>
                </c:pt>
                <c:pt idx="7">
                  <c:v>6.056982090355767E-2</c:v>
                </c:pt>
                <c:pt idx="9">
                  <c:v>3.8048212073731963E-2</c:v>
                </c:pt>
                <c:pt idx="10">
                  <c:v>5.170856636114248E-8</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3">
                  <c:v>0.32890000000000003</c:v>
                </c:pt>
                <c:pt idx="6">
                  <c:v>8.0799999999999997E-2</c:v>
                </c:pt>
                <c:pt idx="8">
                  <c:v>0.33789999999999998</c:v>
                </c:pt>
                <c:pt idx="9">
                  <c:v>0.2524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3">
                  <c:v>0.35349999999999998</c:v>
                </c:pt>
                <c:pt idx="6">
                  <c:v>8.6800000000000002E-2</c:v>
                </c:pt>
                <c:pt idx="7">
                  <c:v>0.32240000000000002</c:v>
                </c:pt>
                <c:pt idx="10">
                  <c:v>0.237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0.14696565929531613</c:v>
                </c:pt>
                <c:pt idx="2">
                  <c:v>2.3476306319308922E-2</c:v>
                </c:pt>
                <c:pt idx="3">
                  <c:v>3.295751999351379E-2</c:v>
                </c:pt>
                <c:pt idx="4">
                  <c:v>0.1841801727141622</c:v>
                </c:pt>
                <c:pt idx="5">
                  <c:v>0.12209728666031888</c:v>
                </c:pt>
                <c:pt idx="6">
                  <c:v>5.5769791123886107E-3</c:v>
                </c:pt>
                <c:pt idx="7">
                  <c:v>2.6064665698349303E-2</c:v>
                </c:pt>
                <c:pt idx="8">
                  <c:v>0.24034269525849561</c:v>
                </c:pt>
                <c:pt idx="9">
                  <c:v>0.20465369274072781</c:v>
                </c:pt>
                <c:pt idx="10">
                  <c:v>1.3002154197850399E-2</c:v>
                </c:pt>
                <c:pt idx="11">
                  <c:v>6.8194524330137752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50 GR</c:v>
                </c:pt>
                <c:pt idx="10">
                  <c:v>50-149 GR</c:v>
                </c:pt>
                <c:pt idx="11">
                  <c:v>0-50 GR</c:v>
                </c:pt>
                <c:pt idx="12">
                  <c:v>0-49 GR</c:v>
                </c:pt>
              </c:strCache>
            </c:strRef>
          </c:cat>
          <c:val>
            <c:numRef>
              <c:f>Sheet1!$B$2:$B$14</c:f>
              <c:numCache>
                <c:formatCode>General</c:formatCode>
                <c:ptCount val="13"/>
                <c:pt idx="4">
                  <c:v>7.8700417513986307E-2</c:v>
                </c:pt>
                <c:pt idx="5">
                  <c:v>1.932140439824797E-2</c:v>
                </c:pt>
                <c:pt idx="8">
                  <c:v>7.1782763875395186E-2</c:v>
                </c:pt>
                <c:pt idx="9">
                  <c:v>5.284718063657199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La Vache Qui Ri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50 GR</c:v>
                </c:pt>
                <c:pt idx="10">
                  <c:v>50-149 GR</c:v>
                </c:pt>
                <c:pt idx="11">
                  <c:v>0-50 GR</c:v>
                </c:pt>
                <c:pt idx="12">
                  <c:v>0-49 GR</c:v>
                </c:pt>
              </c:strCache>
            </c:strRef>
          </c:cat>
          <c:val>
            <c:numRef>
              <c:f>Sheet1!$C$2:$C$14</c:f>
              <c:numCache>
                <c:formatCode>General</c:formatCode>
                <c:ptCount val="13"/>
                <c:pt idx="1">
                  <c:v>0.13883172631490734</c:v>
                </c:pt>
                <c:pt idx="4">
                  <c:v>6.85733513406976E-2</c:v>
                </c:pt>
                <c:pt idx="5">
                  <c:v>8.5199533734594043E-3</c:v>
                </c:pt>
                <c:pt idx="8">
                  <c:v>8.5279185241007888E-2</c:v>
                </c:pt>
                <c:pt idx="9">
                  <c:v>1.8039325530002339E-2</c:v>
                </c:pt>
                <c:pt idx="11">
                  <c:v>2.4653588300363943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Mini Baby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50 GR</c:v>
                </c:pt>
                <c:pt idx="10">
                  <c:v>50-149 GR</c:v>
                </c:pt>
                <c:pt idx="11">
                  <c:v>0-50 GR</c:v>
                </c:pt>
                <c:pt idx="12">
                  <c:v>0-49 GR</c:v>
                </c:pt>
              </c:strCache>
            </c:strRef>
          </c:cat>
          <c:val>
            <c:numRef>
              <c:f>Sheet1!$D$2:$D$14</c:f>
              <c:numCache>
                <c:formatCode>General</c:formatCode>
                <c:ptCount val="13"/>
                <c:pt idx="2">
                  <c:v>1.0467504009943729E-2</c:v>
                </c:pt>
                <c:pt idx="3">
                  <c:v>1.5609031818113373E-2</c:v>
                </c:pt>
                <c:pt idx="4">
                  <c:v>2.7036516839205084E-2</c:v>
                </c:pt>
                <c:pt idx="5">
                  <c:v>9.0446099607501371E-2</c:v>
                </c:pt>
                <c:pt idx="7">
                  <c:v>2.7920705184692296E-3</c:v>
                </c:pt>
                <c:pt idx="8">
                  <c:v>5.8561788240493193E-3</c:v>
                </c:pt>
                <c:pt idx="9">
                  <c:v>8.253358858726037E-2</c:v>
                </c:pt>
                <c:pt idx="10">
                  <c:v>1.9504971969506602E-3</c:v>
                </c:pt>
                <c:pt idx="11">
                  <c:v>4.3540936029773809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Ficello</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50 GR</c:v>
                </c:pt>
                <c:pt idx="10">
                  <c:v>50-149 GR</c:v>
                </c:pt>
                <c:pt idx="11">
                  <c:v>0-50 GR</c:v>
                </c:pt>
                <c:pt idx="12">
                  <c:v>0-49 GR</c:v>
                </c:pt>
              </c:strCache>
            </c:strRef>
          </c:cat>
          <c:val>
            <c:numRef>
              <c:f>Sheet1!$E$2:$E$14</c:f>
              <c:numCache>
                <c:formatCode>General</c:formatCode>
                <c:ptCount val="13"/>
                <c:pt idx="5">
                  <c:v>3.0409342891010774E-7</c:v>
                </c:pt>
                <c:pt idx="8">
                  <c:v>4.4998990619535627E-2</c:v>
                </c:pt>
                <c:pt idx="9">
                  <c:v>4.196046810590521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49 GR</c:v>
                </c:pt>
                <c:pt idx="8">
                  <c:v>150-250 GR</c:v>
                </c:pt>
                <c:pt idx="9">
                  <c:v>50-150 GR</c:v>
                </c:pt>
                <c:pt idx="10">
                  <c:v>50-149 GR</c:v>
                </c:pt>
                <c:pt idx="11">
                  <c:v>0-50 GR</c:v>
                </c:pt>
                <c:pt idx="12">
                  <c:v>0-49 GR</c:v>
                </c:pt>
              </c:strCache>
            </c:strRef>
          </c:cat>
          <c:val>
            <c:numRef>
              <c:f>Sheet1!$F$2:$F$14</c:f>
              <c:numCache>
                <c:formatCode>General</c:formatCode>
                <c:ptCount val="13"/>
                <c:pt idx="1">
                  <c:v>8.1339329804087906E-3</c:v>
                </c:pt>
                <c:pt idx="2">
                  <c:v>1.3008802309365193E-2</c:v>
                </c:pt>
                <c:pt idx="3">
                  <c:v>1.7348488175400419E-2</c:v>
                </c:pt>
                <c:pt idx="4">
                  <c:v>9.8698870202732179E-3</c:v>
                </c:pt>
                <c:pt idx="5">
                  <c:v>5.5769791123886107E-3</c:v>
                </c:pt>
                <c:pt idx="6">
                  <c:v>3.8095251876812215E-3</c:v>
                </c:pt>
                <c:pt idx="7">
                  <c:v>2.3272595179880073E-2</c:v>
                </c:pt>
                <c:pt idx="8">
                  <c:v>3.2425576698507555E-2</c:v>
                </c:pt>
                <c:pt idx="9">
                  <c:v>1.105165700089974E-2</c:v>
                </c:pt>
                <c:pt idx="10">
                  <c:v>9.2731298809878987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4">
                  <c:v>0.24440000000000001</c:v>
                </c:pt>
                <c:pt idx="6">
                  <c:v>0.1573</c:v>
                </c:pt>
                <c:pt idx="7">
                  <c:v>0.39510000000000001</c:v>
                </c:pt>
                <c:pt idx="10">
                  <c:v>0.2031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9.9025390559011175E-2</c:v>
                </c:pt>
                <c:pt idx="3">
                  <c:v>0.19501182742892956</c:v>
                </c:pt>
                <c:pt idx="5">
                  <c:v>0.19221661010637114</c:v>
                </c:pt>
                <c:pt idx="7">
                  <c:v>4.4553653201097635E-3</c:v>
                </c:pt>
                <c:pt idx="8">
                  <c:v>0.32620737314256526</c:v>
                </c:pt>
                <c:pt idx="9">
                  <c:v>0.18163460063555481</c:v>
                </c:pt>
                <c:pt idx="10">
                  <c:v>1.0718808459023585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3">
                  <c:v>5.2604146335066902E-2</c:v>
                </c:pt>
                <c:pt idx="5">
                  <c:v>3.3856581368870375E-2</c:v>
                </c:pt>
                <c:pt idx="8">
                  <c:v>8.5025244020544052E-2</c:v>
                </c:pt>
                <c:pt idx="9">
                  <c:v>4.3739947302331043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C$2:$C$14</c:f>
              <c:numCache>
                <c:formatCode>General</c:formatCode>
                <c:ptCount val="13"/>
                <c:pt idx="3">
                  <c:v>2.8448886650238012E-2</c:v>
                </c:pt>
                <c:pt idx="5">
                  <c:v>0.13057577620431085</c:v>
                </c:pt>
                <c:pt idx="7">
                  <c:v>4.4553653201097635E-3</c:v>
                </c:pt>
                <c:pt idx="8">
                  <c:v>7.6933220278372159E-3</c:v>
                </c:pt>
                <c:pt idx="9">
                  <c:v>8.090207106212588E-2</c:v>
                </c:pt>
                <c:pt idx="10">
                  <c:v>1.0718808459023585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Vache Qui Ri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D$2:$D$14</c:f>
              <c:numCache>
                <c:formatCode>General</c:formatCode>
                <c:ptCount val="13"/>
                <c:pt idx="2">
                  <c:v>9.9025390559011175E-2</c:v>
                </c:pt>
                <c:pt idx="3">
                  <c:v>6.450832288352E-2</c:v>
                </c:pt>
                <c:pt idx="5">
                  <c:v>2.7784252533189901E-2</c:v>
                </c:pt>
                <c:pt idx="8">
                  <c:v>9.8743693851477465E-2</c:v>
                </c:pt>
                <c:pt idx="9">
                  <c:v>6.0214131500869192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E$2:$E$14</c:f>
              <c:numCache>
                <c:formatCode>General</c:formatCode>
                <c:ptCount val="13"/>
                <c:pt idx="3">
                  <c:v>4.9450471560104646E-2</c:v>
                </c:pt>
                <c:pt idx="8">
                  <c:v>7.7421598704224021E-2</c:v>
                </c:pt>
                <c:pt idx="9">
                  <c:v>1.21768688320844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F$2:$F$14</c:f>
              <c:numCache>
                <c:formatCode>General</c:formatCode>
                <c:ptCount val="13"/>
                <c:pt idx="8">
                  <c:v>5.7323514538482452E-2</c:v>
                </c:pt>
                <c:pt idx="9">
                  <c:v>3.879430028892649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8">
                  <c:v>0.50009999999999999</c:v>
                </c:pt>
                <c:pt idx="10">
                  <c:v>0.4999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3.0312546756316075E-2</c:v>
                </c:pt>
                <c:pt idx="3">
                  <c:v>4.1137278657995359E-2</c:v>
                </c:pt>
                <c:pt idx="5">
                  <c:v>0.26441736817554373</c:v>
                </c:pt>
                <c:pt idx="6">
                  <c:v>4.9131473718148973E-2</c:v>
                </c:pt>
                <c:pt idx="7">
                  <c:v>0.49270407647915671</c:v>
                </c:pt>
                <c:pt idx="8">
                  <c:v>5.9502162452361049E-2</c:v>
                </c:pt>
                <c:pt idx="9">
                  <c:v>5.8546804951692615E-2</c:v>
                </c:pt>
                <c:pt idx="10">
                  <c:v>4.2312884841799936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50 GR</c:v>
                </c:pt>
                <c:pt idx="8">
                  <c:v>150-249 GR</c:v>
                </c:pt>
                <c:pt idx="9">
                  <c:v>50-150 GR</c:v>
                </c:pt>
                <c:pt idx="10">
                  <c:v>50-149 GR</c:v>
                </c:pt>
                <c:pt idx="11">
                  <c:v>0-49 GR</c:v>
                </c:pt>
                <c:pt idx="12">
                  <c:v>0-50 GR</c:v>
                </c:pt>
              </c:strCache>
            </c:strRef>
          </c:cat>
          <c:val>
            <c:numRef>
              <c:f>Sheet1!$B$2:$B$14</c:f>
              <c:numCache>
                <c:formatCode>General</c:formatCode>
                <c:ptCount val="13"/>
                <c:pt idx="7">
                  <c:v>4.3712108953747357E-3</c:v>
                </c:pt>
                <c:pt idx="9">
                  <c:v>4.3692749259969721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50 GR</c:v>
                </c:pt>
                <c:pt idx="8">
                  <c:v>150-249 GR</c:v>
                </c:pt>
                <c:pt idx="9">
                  <c:v>50-150 GR</c:v>
                </c:pt>
                <c:pt idx="10">
                  <c:v>50-149 GR</c:v>
                </c:pt>
                <c:pt idx="11">
                  <c:v>0-49 GR</c:v>
                </c:pt>
                <c:pt idx="12">
                  <c:v>0-50 GR</c:v>
                </c:pt>
              </c:strCache>
            </c:strRef>
          </c:cat>
          <c:val>
            <c:numRef>
              <c:f>Sheet1!$C$2:$C$14</c:f>
              <c:numCache>
                <c:formatCode>General</c:formatCode>
                <c:ptCount val="13"/>
                <c:pt idx="2">
                  <c:v>1.3257302858749631E-2</c:v>
                </c:pt>
                <c:pt idx="3">
                  <c:v>4.1117522494445613E-2</c:v>
                </c:pt>
                <c:pt idx="5">
                  <c:v>8.3971777085328436E-2</c:v>
                </c:pt>
                <c:pt idx="7">
                  <c:v>0.14385126804842238</c:v>
                </c:pt>
                <c:pt idx="9">
                  <c:v>3.5308251402805055E-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aysan Bret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50 GR</c:v>
                </c:pt>
                <c:pt idx="8">
                  <c:v>150-249 GR</c:v>
                </c:pt>
                <c:pt idx="9">
                  <c:v>50-150 GR</c:v>
                </c:pt>
                <c:pt idx="10">
                  <c:v>50-149 GR</c:v>
                </c:pt>
                <c:pt idx="11">
                  <c:v>0-49 GR</c:v>
                </c:pt>
                <c:pt idx="12">
                  <c:v>0-50 GR</c:v>
                </c:pt>
              </c:strCache>
            </c:strRef>
          </c:cat>
          <c:val>
            <c:numRef>
              <c:f>Sheet1!$D$2:$D$14</c:f>
              <c:numCache>
                <c:formatCode>General</c:formatCode>
                <c:ptCount val="13"/>
                <c:pt idx="2">
                  <c:v>1.3674589538061579E-2</c:v>
                </c:pt>
                <c:pt idx="5">
                  <c:v>4.214852642763222E-2</c:v>
                </c:pt>
                <c:pt idx="7">
                  <c:v>7.749675245625217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50 GR</c:v>
                </c:pt>
                <c:pt idx="8">
                  <c:v>150-249 GR</c:v>
                </c:pt>
                <c:pt idx="9">
                  <c:v>50-150 GR</c:v>
                </c:pt>
                <c:pt idx="10">
                  <c:v>50-149 GR</c:v>
                </c:pt>
                <c:pt idx="11">
                  <c:v>0-49 GR</c:v>
                </c:pt>
                <c:pt idx="12">
                  <c:v>0-50 GR</c:v>
                </c:pt>
              </c:strCache>
            </c:strRef>
          </c:cat>
          <c:val>
            <c:numRef>
              <c:f>Sheet1!$E$2:$E$14</c:f>
              <c:numCache>
                <c:formatCode>General</c:formatCode>
                <c:ptCount val="13"/>
                <c:pt idx="5">
                  <c:v>2.0110324760778144E-2</c:v>
                </c:pt>
                <c:pt idx="7">
                  <c:v>6.8417187732425735E-2</c:v>
                </c:pt>
                <c:pt idx="9">
                  <c:v>1.604095453152696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50 GR</c:v>
                </c:pt>
                <c:pt idx="8">
                  <c:v>150-249 GR</c:v>
                </c:pt>
                <c:pt idx="9">
                  <c:v>50-150 GR</c:v>
                </c:pt>
                <c:pt idx="10">
                  <c:v>50-149 GR</c:v>
                </c:pt>
                <c:pt idx="11">
                  <c:v>0-49 GR</c:v>
                </c:pt>
                <c:pt idx="12">
                  <c:v>0-50 GR</c:v>
                </c:pt>
              </c:strCache>
            </c:strRef>
          </c:cat>
          <c:val>
            <c:numRef>
              <c:f>Sheet1!$F$2:$F$14</c:f>
              <c:numCache>
                <c:formatCode>General</c:formatCode>
                <c:ptCount val="13"/>
                <c:pt idx="2">
                  <c:v>3.3806543595048637E-3</c:v>
                </c:pt>
                <c:pt idx="3">
                  <c:v>1.9756163549747491E-5</c:v>
                </c:pt>
                <c:pt idx="5">
                  <c:v>0.11818673990180494</c:v>
                </c:pt>
                <c:pt idx="6">
                  <c:v>4.9131473718148973E-2</c:v>
                </c:pt>
                <c:pt idx="7">
                  <c:v>5.9502162452361049E-2</c:v>
                </c:pt>
                <c:pt idx="8">
                  <c:v>0.19856765734668166</c:v>
                </c:pt>
                <c:pt idx="9">
                  <c:v>4.2312884841799936E-3</c:v>
                </c:pt>
                <c:pt idx="10">
                  <c:v>3.813622241165465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7">
                  <c:v>0.54579999999999995</c:v>
                </c:pt>
                <c:pt idx="10">
                  <c:v>0.4541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2.8899443980434349E-2</c:v>
                </c:pt>
                <c:pt idx="1">
                  <c:v>5.1803542935656838E-3</c:v>
                </c:pt>
                <c:pt idx="2">
                  <c:v>6.4755866778982929E-2</c:v>
                </c:pt>
                <c:pt idx="3">
                  <c:v>1.8021381861367716E-2</c:v>
                </c:pt>
                <c:pt idx="4">
                  <c:v>0.10461701106794237</c:v>
                </c:pt>
                <c:pt idx="5">
                  <c:v>0.19988749427527719</c:v>
                </c:pt>
                <c:pt idx="6">
                  <c:v>2.5989686419916082E-2</c:v>
                </c:pt>
                <c:pt idx="7">
                  <c:v>0.33208029496481511</c:v>
                </c:pt>
                <c:pt idx="8">
                  <c:v>6.0607765535214686E-2</c:v>
                </c:pt>
                <c:pt idx="9">
                  <c:v>2.9774651562565285E-2</c:v>
                </c:pt>
                <c:pt idx="10">
                  <c:v>0.1298051470768827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4.0866662464118811E-2</c:v>
                </c:pt>
                <c:pt idx="3">
                  <c:v>4.5633021875691224E-2</c:v>
                </c:pt>
                <c:pt idx="5">
                  <c:v>0.22192560355519467</c:v>
                </c:pt>
                <c:pt idx="6">
                  <c:v>3.8701355527194066E-2</c:v>
                </c:pt>
                <c:pt idx="7">
                  <c:v>4.9817374574832686E-2</c:v>
                </c:pt>
                <c:pt idx="8">
                  <c:v>0.54405836650955963</c:v>
                </c:pt>
                <c:pt idx="9">
                  <c:v>5.870398517248189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8">
                  <c:v>7.7200506253627989E-3</c:v>
                </c:pt>
                <c:pt idx="9">
                  <c:v>6.4254037852506385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C$2:$C$14</c:f>
              <c:numCache>
                <c:formatCode>General</c:formatCode>
                <c:ptCount val="13"/>
                <c:pt idx="2">
                  <c:v>1.5462823601955515E-2</c:v>
                </c:pt>
                <c:pt idx="3">
                  <c:v>4.5630734450636229E-2</c:v>
                </c:pt>
                <c:pt idx="5">
                  <c:v>4.5197142309156488E-2</c:v>
                </c:pt>
                <c:pt idx="8">
                  <c:v>0.1703154506582534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aysan Bret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D$2:$D$14</c:f>
              <c:numCache>
                <c:formatCode>General</c:formatCode>
                <c:ptCount val="13"/>
                <c:pt idx="2">
                  <c:v>1.6435649394388581E-2</c:v>
                </c:pt>
                <c:pt idx="5">
                  <c:v>3.6146301740761742E-2</c:v>
                </c:pt>
                <c:pt idx="8">
                  <c:v>9.11722235831110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E$2:$E$14</c:f>
              <c:numCache>
                <c:formatCode>General</c:formatCode>
                <c:ptCount val="13"/>
                <c:pt idx="5">
                  <c:v>2.0414795047385217E-2</c:v>
                </c:pt>
                <c:pt idx="8">
                  <c:v>7.3401727640319561E-2</c:v>
                </c:pt>
                <c:pt idx="9">
                  <c:v>1.527106411326292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F$2:$F$14</c:f>
              <c:numCache>
                <c:formatCode>General</c:formatCode>
                <c:ptCount val="13"/>
                <c:pt idx="2">
                  <c:v>8.9681894677747162E-3</c:v>
                </c:pt>
                <c:pt idx="3">
                  <c:v>2.2874250549976061E-6</c:v>
                </c:pt>
                <c:pt idx="5">
                  <c:v>0.12016736445789121</c:v>
                </c:pt>
                <c:pt idx="6">
                  <c:v>3.8701355527194066E-2</c:v>
                </c:pt>
                <c:pt idx="7">
                  <c:v>4.9817374574832686E-2</c:v>
                </c:pt>
                <c:pt idx="8">
                  <c:v>0.20144891400251269</c:v>
                </c:pt>
                <c:pt idx="9">
                  <c:v>2.8347093699140257E-4</c:v>
                </c:pt>
                <c:pt idx="10">
                  <c:v>3.700751727396833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7">
                  <c:v>0.35980000000000001</c:v>
                </c:pt>
                <c:pt idx="10">
                  <c:v>0.6401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1.4730354873988525E-2</c:v>
                </c:pt>
                <c:pt idx="3">
                  <c:v>6.8172638867039656E-2</c:v>
                </c:pt>
                <c:pt idx="5">
                  <c:v>0.30914313265850801</c:v>
                </c:pt>
                <c:pt idx="8">
                  <c:v>0.54860475711832579</c:v>
                </c:pt>
                <c:pt idx="9">
                  <c:v>5.871901674128954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B$2:$B$14</c:f>
              <c:numCache>
                <c:formatCode>General</c:formatCode>
                <c:ptCount val="13"/>
                <c:pt idx="8">
                  <c:v>3.0402933460139136E-3</c:v>
                </c:pt>
                <c:pt idx="9">
                  <c:v>5.4087455271764505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C$2:$C$14</c:f>
              <c:numCache>
                <c:formatCode>General</c:formatCode>
                <c:ptCount val="13"/>
                <c:pt idx="2">
                  <c:v>5.7279737499277604E-3</c:v>
                </c:pt>
                <c:pt idx="3">
                  <c:v>6.8172638867039656E-2</c:v>
                </c:pt>
                <c:pt idx="5">
                  <c:v>9.3501410730676054E-2</c:v>
                </c:pt>
                <c:pt idx="8">
                  <c:v>0.1510088105452856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D$2:$D$14</c:f>
              <c:numCache>
                <c:formatCode>General</c:formatCode>
                <c:ptCount val="13"/>
                <c:pt idx="5">
                  <c:v>5.2607981753840551E-2</c:v>
                </c:pt>
                <c:pt idx="8">
                  <c:v>9.6429656875496123E-2</c:v>
                </c:pt>
                <c:pt idx="9">
                  <c:v>3.375550864972082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E$2:$E$14</c:f>
              <c:numCache>
                <c:formatCode>General</c:formatCode>
                <c:ptCount val="13"/>
                <c:pt idx="5">
                  <c:v>3.6411951396942636E-2</c:v>
                </c:pt>
                <c:pt idx="8">
                  <c:v>8.6254632221901786E-2</c:v>
                </c:pt>
                <c:pt idx="9">
                  <c:v>2.476004233039275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F$2:$F$14</c:f>
              <c:numCache>
                <c:formatCode>General</c:formatCode>
                <c:ptCount val="13"/>
                <c:pt idx="2">
                  <c:v>9.0023811240607637E-3</c:v>
                </c:pt>
                <c:pt idx="5">
                  <c:v>1.8313181483870577E-5</c:v>
                </c:pt>
                <c:pt idx="6">
                  <c:v>0.1266217887770488</c:v>
                </c:pt>
                <c:pt idx="7">
                  <c:v>3.4244596893143501E-4</c:v>
                </c:pt>
                <c:pt idx="8">
                  <c:v>0.21187136412962831</c:v>
                </c:pt>
                <c:pt idx="9">
                  <c:v>1.6214532985086785E-4</c:v>
                </c:pt>
                <c:pt idx="10">
                  <c:v>2.517467801874825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3.0514884509204492E-3</c:v>
                </c:pt>
                <c:pt idx="1">
                  <c:v>3.4694502563154175E-3</c:v>
                </c:pt>
                <c:pt idx="2">
                  <c:v>4.4352743456934855E-3</c:v>
                </c:pt>
                <c:pt idx="3">
                  <c:v>5.9649644512206321E-2</c:v>
                </c:pt>
                <c:pt idx="4">
                  <c:v>3.9085132320912236E-2</c:v>
                </c:pt>
                <c:pt idx="5">
                  <c:v>2.7360055985208086E-2</c:v>
                </c:pt>
                <c:pt idx="6">
                  <c:v>8.6695116521100249E-2</c:v>
                </c:pt>
                <c:pt idx="7">
                  <c:v>0.24180534467699411</c:v>
                </c:pt>
                <c:pt idx="8">
                  <c:v>0.14148704324444239</c:v>
                </c:pt>
                <c:pt idx="9">
                  <c:v>0.24435861527080921</c:v>
                </c:pt>
                <c:pt idx="10">
                  <c:v>0.1486028344153980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49 GR</c:v>
                </c:pt>
                <c:pt idx="6">
                  <c:v>250-350 GR</c:v>
                </c:pt>
                <c:pt idx="7">
                  <c:v>150-250 GR</c:v>
                </c:pt>
                <c:pt idx="8">
                  <c:v>150-249 GR</c:v>
                </c:pt>
                <c:pt idx="9">
                  <c:v>50-150 GR</c:v>
                </c:pt>
                <c:pt idx="10">
                  <c:v>50-149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49 GR</c:v>
                </c:pt>
                <c:pt idx="6">
                  <c:v>250-350 GR</c:v>
                </c:pt>
                <c:pt idx="7">
                  <c:v>150-250 GR</c:v>
                </c:pt>
                <c:pt idx="8">
                  <c:v>150-249 GR</c:v>
                </c:pt>
                <c:pt idx="9">
                  <c:v>50-150 GR</c:v>
                </c:pt>
                <c:pt idx="10">
                  <c:v>50-149 GR</c:v>
                </c:pt>
                <c:pt idx="11">
                  <c:v>0-49 GR</c:v>
                </c:pt>
                <c:pt idx="12">
                  <c:v>0-50 GR</c:v>
                </c:pt>
              </c:strCache>
            </c:strRef>
          </c:cat>
          <c:val>
            <c:numRef>
              <c:f>Sheet1!$C$2:$C$14</c:f>
              <c:numCache>
                <c:formatCode>General</c:formatCode>
                <c:ptCount val="13"/>
                <c:pt idx="0">
                  <c:v>1.1504943725024013E-3</c:v>
                </c:pt>
                <c:pt idx="1">
                  <c:v>1.5275277247393483E-3</c:v>
                </c:pt>
                <c:pt idx="2">
                  <c:v>4.4348967856449812E-3</c:v>
                </c:pt>
                <c:pt idx="3">
                  <c:v>2.7841883960607855E-2</c:v>
                </c:pt>
                <c:pt idx="4">
                  <c:v>3.8958985733106355E-2</c:v>
                </c:pt>
                <c:pt idx="5">
                  <c:v>2.6096436127072613E-2</c:v>
                </c:pt>
                <c:pt idx="6">
                  <c:v>1.9254409027786971E-2</c:v>
                </c:pt>
                <c:pt idx="7">
                  <c:v>0.10077068821926924</c:v>
                </c:pt>
                <c:pt idx="8">
                  <c:v>0.13908626726641804</c:v>
                </c:pt>
                <c:pt idx="9">
                  <c:v>0.10628132531951306</c:v>
                </c:pt>
                <c:pt idx="10">
                  <c:v>0.146326370083343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49 GR</c:v>
                </c:pt>
                <c:pt idx="6">
                  <c:v>250-350 GR</c:v>
                </c:pt>
                <c:pt idx="7">
                  <c:v>150-250 GR</c:v>
                </c:pt>
                <c:pt idx="8">
                  <c:v>150-249 GR</c:v>
                </c:pt>
                <c:pt idx="9">
                  <c:v>50-150 GR</c:v>
                </c:pt>
                <c:pt idx="10">
                  <c:v>50-149 GR</c:v>
                </c:pt>
                <c:pt idx="11">
                  <c:v>0-49 GR</c:v>
                </c:pt>
                <c:pt idx="12">
                  <c:v>0-50 GR</c:v>
                </c:pt>
              </c:strCache>
            </c:strRef>
          </c:cat>
          <c:val>
            <c:numRef>
              <c:f>Sheet1!$D$2:$D$14</c:f>
              <c:numCache>
                <c:formatCode>General</c:formatCode>
                <c:ptCount val="13"/>
                <c:pt idx="3">
                  <c:v>2.4466179976535888E-2</c:v>
                </c:pt>
                <c:pt idx="4">
                  <c:v>5.8521807518214687E-7</c:v>
                </c:pt>
                <c:pt idx="5">
                  <c:v>5.9088147590971599E-7</c:v>
                </c:pt>
                <c:pt idx="6">
                  <c:v>1.6542557550199209E-2</c:v>
                </c:pt>
                <c:pt idx="7">
                  <c:v>3.3026496071167713E-2</c:v>
                </c:pt>
                <c:pt idx="8">
                  <c:v>3.3936984959836946E-5</c:v>
                </c:pt>
                <c:pt idx="9">
                  <c:v>4.5674532103943198E-2</c:v>
                </c:pt>
                <c:pt idx="10">
                  <c:v>1.0979927599575926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49 GR</c:v>
                </c:pt>
                <c:pt idx="6">
                  <c:v>250-350 GR</c:v>
                </c:pt>
                <c:pt idx="7">
                  <c:v>150-250 GR</c:v>
                </c:pt>
                <c:pt idx="8">
                  <c:v>150-249 GR</c:v>
                </c:pt>
                <c:pt idx="9">
                  <c:v>50-150 GR</c:v>
                </c:pt>
                <c:pt idx="10">
                  <c:v>50-149 GR</c:v>
                </c:pt>
                <c:pt idx="11">
                  <c:v>0-49 GR</c:v>
                </c:pt>
                <c:pt idx="12">
                  <c:v>0-50 GR</c:v>
                </c:pt>
              </c:strCache>
            </c:strRef>
          </c:cat>
          <c:val>
            <c:numRef>
              <c:f>Sheet1!$E$2:$E$14</c:f>
              <c:numCache>
                <c:formatCode>General</c:formatCode>
                <c:ptCount val="13"/>
                <c:pt idx="1">
                  <c:v>1.0373462332664182E-6</c:v>
                </c:pt>
                <c:pt idx="3">
                  <c:v>3.0774919553610828E-5</c:v>
                </c:pt>
                <c:pt idx="6">
                  <c:v>2.0286296686652133E-2</c:v>
                </c:pt>
                <c:pt idx="7">
                  <c:v>4.37561532730917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50 GR</c:v>
                </c:pt>
                <c:pt idx="4">
                  <c:v>350-449 GR</c:v>
                </c:pt>
                <c:pt idx="5">
                  <c:v>250-349 GR</c:v>
                </c:pt>
                <c:pt idx="6">
                  <c:v>250-350 GR</c:v>
                </c:pt>
                <c:pt idx="7">
                  <c:v>150-250 GR</c:v>
                </c:pt>
                <c:pt idx="8">
                  <c:v>150-249 GR</c:v>
                </c:pt>
                <c:pt idx="9">
                  <c:v>50-150 GR</c:v>
                </c:pt>
                <c:pt idx="10">
                  <c:v>50-149 GR</c:v>
                </c:pt>
                <c:pt idx="11">
                  <c:v>0-49 GR</c:v>
                </c:pt>
                <c:pt idx="12">
                  <c:v>0-50 GR</c:v>
                </c:pt>
              </c:strCache>
            </c:strRef>
          </c:cat>
          <c:val>
            <c:numRef>
              <c:f>Sheet1!$F$2:$F$14</c:f>
              <c:numCache>
                <c:formatCode>General</c:formatCode>
                <c:ptCount val="13"/>
                <c:pt idx="0">
                  <c:v>1.9009940784180477E-3</c:v>
                </c:pt>
                <c:pt idx="1">
                  <c:v>3.7756004850461084E-7</c:v>
                </c:pt>
                <c:pt idx="2">
                  <c:v>1.9408851853428026E-3</c:v>
                </c:pt>
                <c:pt idx="3">
                  <c:v>7.3108056555089666E-3</c:v>
                </c:pt>
                <c:pt idx="4">
                  <c:v>1.2556136973069338E-4</c:v>
                </c:pt>
                <c:pt idx="5">
                  <c:v>1.2630289766595644E-3</c:v>
                </c:pt>
                <c:pt idx="6">
                  <c:v>3.0611853256461929E-2</c:v>
                </c:pt>
                <c:pt idx="7">
                  <c:v>6.4252007113465404E-2</c:v>
                </c:pt>
                <c:pt idx="8">
                  <c:v>2.3668389930644918E-3</c:v>
                </c:pt>
                <c:pt idx="9">
                  <c:v>1.1784715720965931E-3</c:v>
                </c:pt>
                <c:pt idx="10">
                  <c:v>9.240275784735292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4.3623544200504039E-3</c:v>
                </c:pt>
                <c:pt idx="1">
                  <c:v>7.4220041840183384E-4</c:v>
                </c:pt>
                <c:pt idx="2">
                  <c:v>1.1454750131276404E-3</c:v>
                </c:pt>
                <c:pt idx="3">
                  <c:v>3.9345803659033951E-2</c:v>
                </c:pt>
                <c:pt idx="4">
                  <c:v>5.2895285528101438E-2</c:v>
                </c:pt>
                <c:pt idx="5">
                  <c:v>9.1889564298411372E-2</c:v>
                </c:pt>
                <c:pt idx="6">
                  <c:v>2.2778357111808513E-2</c:v>
                </c:pt>
                <c:pt idx="7">
                  <c:v>0.19375608835055957</c:v>
                </c:pt>
                <c:pt idx="8">
                  <c:v>0.24876664768393597</c:v>
                </c:pt>
                <c:pt idx="9">
                  <c:v>0.13008962121002385</c:v>
                </c:pt>
                <c:pt idx="10">
                  <c:v>0.2142286023065454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B$2:$B$14</c:f>
              <c:numCache>
                <c:formatCode>General</c:formatCode>
                <c:ptCount val="13"/>
                <c:pt idx="4">
                  <c:v>6.1291545320060212E-3</c:v>
                </c:pt>
                <c:pt idx="5">
                  <c:v>1.504742631272532E-3</c:v>
                </c:pt>
                <c:pt idx="7">
                  <c:v>6.2959899233690619E-3</c:v>
                </c:pt>
                <c:pt idx="10">
                  <c:v>4.702969750242329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C$2:$C$14</c:f>
              <c:numCache>
                <c:formatCode>General</c:formatCode>
                <c:ptCount val="13"/>
                <c:pt idx="0">
                  <c:v>1.2640676305699122E-2</c:v>
                </c:pt>
                <c:pt idx="1">
                  <c:v>4.3651030526052704E-3</c:v>
                </c:pt>
                <c:pt idx="2">
                  <c:v>3.1615913429504636E-2</c:v>
                </c:pt>
                <c:pt idx="3">
                  <c:v>1.6805595508143242E-2</c:v>
                </c:pt>
                <c:pt idx="4">
                  <c:v>3.5513323865248886E-2</c:v>
                </c:pt>
                <c:pt idx="5">
                  <c:v>5.1841066893275473E-2</c:v>
                </c:pt>
                <c:pt idx="6">
                  <c:v>2.5008223703317033E-2</c:v>
                </c:pt>
                <c:pt idx="7">
                  <c:v>0.10159808295523856</c:v>
                </c:pt>
                <c:pt idx="8">
                  <c:v>5.9251950934042466E-2</c:v>
                </c:pt>
                <c:pt idx="9">
                  <c:v>2.8765728387656283E-2</c:v>
                </c:pt>
                <c:pt idx="10">
                  <c:v>3.940429996592432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D$2:$D$14</c:f>
              <c:numCache>
                <c:formatCode>General</c:formatCode>
                <c:ptCount val="13"/>
                <c:pt idx="0">
                  <c:v>7.6728159481972904E-4</c:v>
                </c:pt>
                <c:pt idx="2">
                  <c:v>4.5360771938260059E-3</c:v>
                </c:pt>
                <c:pt idx="4">
                  <c:v>1.0256986681167318E-2</c:v>
                </c:pt>
                <c:pt idx="5">
                  <c:v>1.7827923888047128E-2</c:v>
                </c:pt>
                <c:pt idx="7">
                  <c:v>1.9047220175543181E-2</c:v>
                </c:pt>
                <c:pt idx="8">
                  <c:v>7.3497925649669908E-9</c:v>
                </c:pt>
                <c:pt idx="10">
                  <c:v>2.9185740450217504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E$2:$E$14</c:f>
              <c:numCache>
                <c:formatCode>General</c:formatCode>
                <c:ptCount val="13"/>
                <c:pt idx="0">
                  <c:v>2.8901017652686869E-6</c:v>
                </c:pt>
                <c:pt idx="2">
                  <c:v>4.4294749858201065E-6</c:v>
                </c:pt>
                <c:pt idx="4">
                  <c:v>3.5931159572567262E-3</c:v>
                </c:pt>
                <c:pt idx="5">
                  <c:v>5.7723727348812101E-3</c:v>
                </c:pt>
                <c:pt idx="7">
                  <c:v>1.8595720784990021E-2</c:v>
                </c:pt>
                <c:pt idx="10">
                  <c:v>1.7138850619267594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50 GR</c:v>
                </c:pt>
                <c:pt idx="6">
                  <c:v>250-349 GR</c:v>
                </c:pt>
                <c:pt idx="7">
                  <c:v>150-250 GR</c:v>
                </c:pt>
                <c:pt idx="8">
                  <c:v>150-249 GR</c:v>
                </c:pt>
                <c:pt idx="9">
                  <c:v>50-149 GR</c:v>
                </c:pt>
                <c:pt idx="10">
                  <c:v>50-150 GR</c:v>
                </c:pt>
                <c:pt idx="11">
                  <c:v>0-49 GR</c:v>
                </c:pt>
                <c:pt idx="12">
                  <c:v>0-50 GR</c:v>
                </c:pt>
              </c:strCache>
            </c:strRef>
          </c:cat>
          <c:val>
            <c:numRef>
              <c:f>Sheet1!$F$2:$F$14</c:f>
              <c:numCache>
                <c:formatCode>General</c:formatCode>
                <c:ptCount val="13"/>
                <c:pt idx="0">
                  <c:v>1.5488595978150227E-2</c:v>
                </c:pt>
                <c:pt idx="1">
                  <c:v>8.1525124096041364E-4</c:v>
                </c:pt>
                <c:pt idx="2">
                  <c:v>2.8599446680666468E-2</c:v>
                </c:pt>
                <c:pt idx="3">
                  <c:v>4.3361308236290655E-2</c:v>
                </c:pt>
                <c:pt idx="4">
                  <c:v>6.9789081491972446E-3</c:v>
                </c:pt>
                <c:pt idx="5">
                  <c:v>2.2324865069751919E-2</c:v>
                </c:pt>
                <c:pt idx="6">
                  <c:v>0.10159798577464799</c:v>
                </c:pt>
                <c:pt idx="7">
                  <c:v>0.18654328112567431</c:v>
                </c:pt>
                <c:pt idx="8">
                  <c:v>1.3558072513796592E-3</c:v>
                </c:pt>
                <c:pt idx="9">
                  <c:v>1.0089231749090038E-3</c:v>
                </c:pt>
                <c:pt idx="10">
                  <c:v>8.106541825376760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50 GR</c:v>
                </c:pt>
                <c:pt idx="6">
                  <c:v>250-349 GR</c:v>
                </c:pt>
                <c:pt idx="7">
                  <c:v>150-249 GR</c:v>
                </c:pt>
                <c:pt idx="8">
                  <c:v>150-250 GR</c:v>
                </c:pt>
                <c:pt idx="9">
                  <c:v>50-149 GR</c:v>
                </c:pt>
                <c:pt idx="10">
                  <c:v>50-150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50 GR</c:v>
                </c:pt>
                <c:pt idx="6">
                  <c:v>250-349 GR</c:v>
                </c:pt>
                <c:pt idx="7">
                  <c:v>150-249 GR</c:v>
                </c:pt>
                <c:pt idx="8">
                  <c:v>150-250 GR</c:v>
                </c:pt>
                <c:pt idx="9">
                  <c:v>50-149 GR</c:v>
                </c:pt>
                <c:pt idx="10">
                  <c:v>50-150 GR</c:v>
                </c:pt>
                <c:pt idx="11">
                  <c:v>0-49 GR</c:v>
                </c:pt>
                <c:pt idx="12">
                  <c:v>0-50 GR</c:v>
                </c:pt>
              </c:strCache>
            </c:strRef>
          </c:cat>
          <c:val>
            <c:numRef>
              <c:f>Sheet1!$C$2:$C$14</c:f>
              <c:numCache>
                <c:formatCode>General</c:formatCode>
                <c:ptCount val="13"/>
                <c:pt idx="1">
                  <c:v>7.4220041840183384E-4</c:v>
                </c:pt>
                <c:pt idx="3">
                  <c:v>3.9345385606274166E-2</c:v>
                </c:pt>
                <c:pt idx="4">
                  <c:v>2.2650406839017069E-2</c:v>
                </c:pt>
                <c:pt idx="5">
                  <c:v>1.1885004805986784E-2</c:v>
                </c:pt>
                <c:pt idx="6">
                  <c:v>2.0963083192614161E-2</c:v>
                </c:pt>
                <c:pt idx="7">
                  <c:v>0.18951002575696213</c:v>
                </c:pt>
                <c:pt idx="8">
                  <c:v>0.10376200139330714</c:v>
                </c:pt>
                <c:pt idx="9">
                  <c:v>0.12598186614634149</c:v>
                </c:pt>
                <c:pt idx="10">
                  <c:v>6.709071639328995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alak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50 GR</c:v>
                </c:pt>
                <c:pt idx="6">
                  <c:v>250-349 GR</c:v>
                </c:pt>
                <c:pt idx="7">
                  <c:v>150-249 GR</c:v>
                </c:pt>
                <c:pt idx="8">
                  <c:v>150-250 GR</c:v>
                </c:pt>
                <c:pt idx="9">
                  <c:v>50-149 GR</c:v>
                </c:pt>
                <c:pt idx="10">
                  <c:v>50-150 GR</c:v>
                </c:pt>
                <c:pt idx="11">
                  <c:v>0-49 GR</c:v>
                </c:pt>
                <c:pt idx="12">
                  <c:v>0-50 GR</c:v>
                </c:pt>
              </c:strCache>
            </c:strRef>
          </c:cat>
          <c:val>
            <c:numRef>
              <c:f>Sheet1!$D$2:$D$14</c:f>
              <c:numCache>
                <c:formatCode>General</c:formatCode>
                <c:ptCount val="13"/>
                <c:pt idx="2">
                  <c:v>2.8323074475378015E-6</c:v>
                </c:pt>
                <c:pt idx="5">
                  <c:v>2.1861107551566051E-2</c:v>
                </c:pt>
                <c:pt idx="8">
                  <c:v>4.574105981370335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alban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50 GR</c:v>
                </c:pt>
                <c:pt idx="6">
                  <c:v>250-349 GR</c:v>
                </c:pt>
                <c:pt idx="7">
                  <c:v>150-249 GR</c:v>
                </c:pt>
                <c:pt idx="8">
                  <c:v>150-250 GR</c:v>
                </c:pt>
                <c:pt idx="9">
                  <c:v>50-149 GR</c:v>
                </c:pt>
                <c:pt idx="10">
                  <c:v>50-150 GR</c:v>
                </c:pt>
                <c:pt idx="11">
                  <c:v>0-49 GR</c:v>
                </c:pt>
                <c:pt idx="12">
                  <c:v>0-50 GR</c:v>
                </c:pt>
              </c:strCache>
            </c:strRef>
          </c:cat>
          <c:val>
            <c:numRef>
              <c:f>Sheet1!$E$2:$E$14</c:f>
              <c:numCache>
                <c:formatCode>General</c:formatCode>
                <c:ptCount val="13"/>
                <c:pt idx="4">
                  <c:v>2.191222495276866E-2</c:v>
                </c:pt>
                <c:pt idx="5">
                  <c:v>1.3676815514038248E-2</c:v>
                </c:pt>
                <c:pt idx="7">
                  <c:v>9.4061870951439902E-7</c:v>
                </c:pt>
                <c:pt idx="8">
                  <c:v>2.188679166799529E-2</c:v>
                </c:pt>
                <c:pt idx="9">
                  <c:v>1.601136844313902E-3</c:v>
                </c:pt>
                <c:pt idx="10">
                  <c:v>4.337878998662889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50 GR</c:v>
                </c:pt>
                <c:pt idx="6">
                  <c:v>250-349 GR</c:v>
                </c:pt>
                <c:pt idx="7">
                  <c:v>150-249 GR</c:v>
                </c:pt>
                <c:pt idx="8">
                  <c:v>150-250 GR</c:v>
                </c:pt>
                <c:pt idx="9">
                  <c:v>50-149 GR</c:v>
                </c:pt>
                <c:pt idx="10">
                  <c:v>50-150 GR</c:v>
                </c:pt>
                <c:pt idx="11">
                  <c:v>0-49 GR</c:v>
                </c:pt>
                <c:pt idx="12">
                  <c:v>0-50 GR</c:v>
                </c:pt>
              </c:strCache>
            </c:strRef>
          </c:cat>
          <c:val>
            <c:numRef>
              <c:f>Sheet1!$F$2:$F$14</c:f>
              <c:numCache>
                <c:formatCode>General</c:formatCode>
                <c:ptCount val="13"/>
                <c:pt idx="2">
                  <c:v>1.1426427056801026E-3</c:v>
                </c:pt>
                <c:pt idx="3">
                  <c:v>3.7515479840487371E-3</c:v>
                </c:pt>
                <c:pt idx="5">
                  <c:v>4.4466636426820291E-2</c:v>
                </c:pt>
                <c:pt idx="7">
                  <c:v>4.2451219748879257E-3</c:v>
                </c:pt>
                <c:pt idx="8">
                  <c:v>7.7376794808930185E-2</c:v>
                </c:pt>
                <c:pt idx="9">
                  <c:v>2.5066182193684409E-3</c:v>
                </c:pt>
                <c:pt idx="10">
                  <c:v>0.1037590959266266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0588329459832054E-3</c:v>
                </c:pt>
                <c:pt idx="1">
                  <c:v>7.8251402036527088E-4</c:v>
                </c:pt>
                <c:pt idx="4">
                  <c:v>8.9010434283185988E-2</c:v>
                </c:pt>
                <c:pt idx="6">
                  <c:v>0.11588715556988459</c:v>
                </c:pt>
                <c:pt idx="7">
                  <c:v>0.38683540238311287</c:v>
                </c:pt>
                <c:pt idx="8">
                  <c:v>8.171563093686076E-3</c:v>
                </c:pt>
                <c:pt idx="9">
                  <c:v>3.1710661268696699E-3</c:v>
                </c:pt>
                <c:pt idx="10">
                  <c:v>0.3944030874675362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49 GR</c:v>
                </c:pt>
                <c:pt idx="10">
                  <c:v>50-150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49 GR</c:v>
                </c:pt>
                <c:pt idx="10">
                  <c:v>50-150 GR</c:v>
                </c:pt>
                <c:pt idx="11">
                  <c:v>0-49 GR</c:v>
                </c:pt>
                <c:pt idx="12">
                  <c:v>0-50 GR</c:v>
                </c:pt>
              </c:strCache>
            </c:strRef>
          </c:cat>
          <c:val>
            <c:numRef>
              <c:f>Sheet1!$C$2:$C$14</c:f>
              <c:numCache>
                <c:formatCode>General</c:formatCode>
                <c:ptCount val="13"/>
                <c:pt idx="4">
                  <c:v>4.3647638855391468E-2</c:v>
                </c:pt>
                <c:pt idx="6">
                  <c:v>4.6009955935826144E-2</c:v>
                </c:pt>
                <c:pt idx="7">
                  <c:v>0.22755458516457575</c:v>
                </c:pt>
                <c:pt idx="10">
                  <c:v>0.2547115919890301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49 GR</c:v>
                </c:pt>
                <c:pt idx="10">
                  <c:v>50-150 GR</c:v>
                </c:pt>
                <c:pt idx="11">
                  <c:v>0-49 GR</c:v>
                </c:pt>
                <c:pt idx="12">
                  <c:v>0-50 GR</c:v>
                </c:pt>
              </c:strCache>
            </c:strRef>
          </c:cat>
          <c:val>
            <c:numRef>
              <c:f>Sheet1!$D$2:$D$14</c:f>
              <c:numCache>
                <c:formatCode>General</c:formatCode>
                <c:ptCount val="13"/>
                <c:pt idx="4">
                  <c:v>3.7097002897101106E-2</c:v>
                </c:pt>
                <c:pt idx="6">
                  <c:v>2.5489995312311532E-2</c:v>
                </c:pt>
                <c:pt idx="7">
                  <c:v>6.2801569934585189E-2</c:v>
                </c:pt>
                <c:pt idx="9">
                  <c:v>1.9574620025639301E-3</c:v>
                </c:pt>
                <c:pt idx="10">
                  <c:v>6.295599902315456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49 GR</c:v>
                </c:pt>
                <c:pt idx="10">
                  <c:v>50-150 GR</c:v>
                </c:pt>
                <c:pt idx="11">
                  <c:v>0-49 GR</c:v>
                </c:pt>
                <c:pt idx="12">
                  <c:v>0-50 GR</c:v>
                </c:pt>
              </c:strCache>
            </c:strRef>
          </c:cat>
          <c:val>
            <c:numRef>
              <c:f>Sheet1!$E$2:$E$14</c:f>
              <c:numCache>
                <c:formatCode>General</c:formatCode>
                <c:ptCount val="13"/>
                <c:pt idx="6">
                  <c:v>3.0231530335985812E-2</c:v>
                </c:pt>
                <c:pt idx="7">
                  <c:v>5.481055692562049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49 GR</c:v>
                </c:pt>
                <c:pt idx="10">
                  <c:v>50-150 GR</c:v>
                </c:pt>
                <c:pt idx="11">
                  <c:v>0-49 GR</c:v>
                </c:pt>
                <c:pt idx="12">
                  <c:v>0-50 GR</c:v>
                </c:pt>
              </c:strCache>
            </c:strRef>
          </c:cat>
          <c:val>
            <c:numRef>
              <c:f>Sheet1!$F$2:$F$14</c:f>
              <c:numCache>
                <c:formatCode>General</c:formatCode>
                <c:ptCount val="13"/>
                <c:pt idx="0">
                  <c:v>1.0588329459832054E-3</c:v>
                </c:pt>
                <c:pt idx="1">
                  <c:v>7.8251402036527088E-4</c:v>
                </c:pt>
                <c:pt idx="3">
                  <c:v>4.65290934262347E-4</c:v>
                </c:pt>
                <c:pt idx="4">
                  <c:v>8.2657925306934121E-3</c:v>
                </c:pt>
                <c:pt idx="5">
                  <c:v>2.1465317511378169E-4</c:v>
                </c:pt>
                <c:pt idx="6">
                  <c:v>1.4155673985761102E-2</c:v>
                </c:pt>
                <c:pt idx="7">
                  <c:v>8.171563093686076E-3</c:v>
                </c:pt>
                <c:pt idx="8">
                  <c:v>4.1668690358331442E-2</c:v>
                </c:pt>
                <c:pt idx="9">
                  <c:v>1.21360412430574E-3</c:v>
                </c:pt>
                <c:pt idx="10">
                  <c:v>7.673549645535149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5157577861394508E-2</c:v>
                </c:pt>
                <c:pt idx="1">
                  <c:v>4.0338290807629851E-2</c:v>
                </c:pt>
                <c:pt idx="2">
                  <c:v>2.7317055035750843E-2</c:v>
                </c:pt>
                <c:pt idx="3">
                  <c:v>4.5773405333712824E-2</c:v>
                </c:pt>
                <c:pt idx="4">
                  <c:v>0.16969832877932148</c:v>
                </c:pt>
                <c:pt idx="5">
                  <c:v>0.39888044764011138</c:v>
                </c:pt>
                <c:pt idx="6">
                  <c:v>8.5453563995645465E-2</c:v>
                </c:pt>
                <c:pt idx="7">
                  <c:v>0.16633249927719454</c:v>
                </c:pt>
                <c:pt idx="8">
                  <c:v>4.0550623547376534E-2</c:v>
                </c:pt>
                <c:pt idx="9">
                  <c:v>9.7361119113524835E-3</c:v>
                </c:pt>
                <c:pt idx="10">
                  <c:v>7.6209581051008446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50 GR</c:v>
                </c:pt>
                <c:pt idx="10">
                  <c:v>50-149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aprice Des Dieux</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50 GR</c:v>
                </c:pt>
                <c:pt idx="10">
                  <c:v>50-149 GR</c:v>
                </c:pt>
                <c:pt idx="11">
                  <c:v>0-49 GR</c:v>
                </c:pt>
                <c:pt idx="12">
                  <c:v>0-50 GR</c:v>
                </c:pt>
              </c:strCache>
            </c:strRef>
          </c:cat>
          <c:val>
            <c:numRef>
              <c:f>Sheet1!$C$2:$C$14</c:f>
              <c:numCache>
                <c:formatCode>General</c:formatCode>
                <c:ptCount val="13"/>
                <c:pt idx="5">
                  <c:v>8.4662929189084316E-2</c:v>
                </c:pt>
                <c:pt idx="7">
                  <c:v>6.92667399987935E-2</c:v>
                </c:pt>
                <c:pt idx="9">
                  <c:v>3.0407406750139147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50 GR</c:v>
                </c:pt>
                <c:pt idx="10">
                  <c:v>50-149 GR</c:v>
                </c:pt>
                <c:pt idx="11">
                  <c:v>0-49 GR</c:v>
                </c:pt>
                <c:pt idx="12">
                  <c:v>0-50 GR</c:v>
                </c:pt>
              </c:strCache>
            </c:strRef>
          </c:cat>
          <c:val>
            <c:numRef>
              <c:f>Sheet1!$D$2:$D$14</c:f>
              <c:numCache>
                <c:formatCode>General</c:formatCode>
                <c:ptCount val="13"/>
                <c:pt idx="0">
                  <c:v>2.9043259965824403E-6</c:v>
                </c:pt>
                <c:pt idx="1">
                  <c:v>2.6571251214605983E-2</c:v>
                </c:pt>
                <c:pt idx="2">
                  <c:v>2.7317055035750843E-2</c:v>
                </c:pt>
                <c:pt idx="3">
                  <c:v>4.5750831370006594E-2</c:v>
                </c:pt>
                <c:pt idx="4">
                  <c:v>4.2545361137805576E-2</c:v>
                </c:pt>
                <c:pt idx="5">
                  <c:v>7.2525897194615177E-2</c:v>
                </c:pt>
                <c:pt idx="6">
                  <c:v>8.4196362974186742E-2</c:v>
                </c:pt>
                <c:pt idx="7">
                  <c:v>3.4500046968880441E-2</c:v>
                </c:pt>
                <c:pt idx="8">
                  <c:v>4.0473386706304161E-2</c:v>
                </c:pt>
                <c:pt idx="9">
                  <c:v>8.3870127636580987E-4</c:v>
                </c:pt>
                <c:pt idx="10">
                  <c:v>7.59157197912333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50 GR</c:v>
                </c:pt>
                <c:pt idx="10">
                  <c:v>50-149 GR</c:v>
                </c:pt>
                <c:pt idx="11">
                  <c:v>0-49 GR</c:v>
                </c:pt>
                <c:pt idx="12">
                  <c:v>0-50 GR</c:v>
                </c:pt>
              </c:strCache>
            </c:strRef>
          </c:cat>
          <c:val>
            <c:numRef>
              <c:f>Sheet1!$E$2:$E$14</c:f>
              <c:numCache>
                <c:formatCode>General</c:formatCode>
                <c:ptCount val="13"/>
                <c:pt idx="1">
                  <c:v>4.5123174158938654E-4</c:v>
                </c:pt>
                <c:pt idx="4">
                  <c:v>7.2956265121263963E-2</c:v>
                </c:pt>
                <c:pt idx="5">
                  <c:v>3.2513423595308538E-2</c:v>
                </c:pt>
                <c:pt idx="7">
                  <c:v>1.62443368434079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50 GR</c:v>
                </c:pt>
                <c:pt idx="10">
                  <c:v>50-149 GR</c:v>
                </c:pt>
                <c:pt idx="11">
                  <c:v>0-49 GR</c:v>
                </c:pt>
                <c:pt idx="12">
                  <c:v>0-50 GR</c:v>
                </c:pt>
              </c:strCache>
            </c:strRef>
          </c:cat>
          <c:val>
            <c:numRef>
              <c:f>Sheet1!$F$2:$F$14</c:f>
              <c:numCache>
                <c:formatCode>General</c:formatCode>
                <c:ptCount val="13"/>
                <c:pt idx="0">
                  <c:v>1.5154673535397926E-2</c:v>
                </c:pt>
                <c:pt idx="1">
                  <c:v>1.3315807851434477E-2</c:v>
                </c:pt>
                <c:pt idx="3">
                  <c:v>2.2573963706232768E-5</c:v>
                </c:pt>
                <c:pt idx="4">
                  <c:v>5.4196702520251924E-2</c:v>
                </c:pt>
                <c:pt idx="5">
                  <c:v>1.2572010214587286E-3</c:v>
                </c:pt>
                <c:pt idx="6">
                  <c:v>0.20917819766110338</c:v>
                </c:pt>
                <c:pt idx="7">
                  <c:v>7.7236841072373793E-5</c:v>
                </c:pt>
                <c:pt idx="8">
                  <c:v>4.6321375466112646E-2</c:v>
                </c:pt>
                <c:pt idx="9">
                  <c:v>2.9386125977514241E-6</c:v>
                </c:pt>
                <c:pt idx="10">
                  <c:v>5.8566699599727594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236538655618517E-2</c:v>
                </c:pt>
                <c:pt idx="1">
                  <c:v>2.5881090291032308E-2</c:v>
                </c:pt>
                <c:pt idx="2">
                  <c:v>2.017391439462202E-2</c:v>
                </c:pt>
                <c:pt idx="3">
                  <c:v>3.9383419606315632E-2</c:v>
                </c:pt>
                <c:pt idx="4">
                  <c:v>0.15717055300638599</c:v>
                </c:pt>
                <c:pt idx="5">
                  <c:v>8.8318017773152624E-2</c:v>
                </c:pt>
                <c:pt idx="6">
                  <c:v>0.41071261682106197</c:v>
                </c:pt>
                <c:pt idx="7">
                  <c:v>0.18771142446126557</c:v>
                </c:pt>
                <c:pt idx="8">
                  <c:v>4.4396021725698349E-2</c:v>
                </c:pt>
                <c:pt idx="9">
                  <c:v>1.388366573483737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C$2:$C$14</c:f>
              <c:numCache>
                <c:formatCode>General</c:formatCode>
                <c:ptCount val="13"/>
                <c:pt idx="0">
                  <c:v>1.3898806779292177E-6</c:v>
                </c:pt>
                <c:pt idx="1">
                  <c:v>1.3082697355585021E-2</c:v>
                </c:pt>
                <c:pt idx="2">
                  <c:v>2.017391439462202E-2</c:v>
                </c:pt>
                <c:pt idx="3">
                  <c:v>3.9383144684862856E-2</c:v>
                </c:pt>
                <c:pt idx="4">
                  <c:v>2.6788774014204347E-2</c:v>
                </c:pt>
                <c:pt idx="5">
                  <c:v>8.8281936878044628E-2</c:v>
                </c:pt>
                <c:pt idx="6">
                  <c:v>6.0738920949284021E-2</c:v>
                </c:pt>
                <c:pt idx="7">
                  <c:v>2.9961510131117728E-2</c:v>
                </c:pt>
                <c:pt idx="8">
                  <c:v>4.420740524454112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D$2:$D$14</c:f>
              <c:numCache>
                <c:formatCode>General</c:formatCode>
                <c:ptCount val="13"/>
                <c:pt idx="6">
                  <c:v>8.3354382219192336E-2</c:v>
                </c:pt>
                <c:pt idx="7">
                  <c:v>7.8275086191821081E-2</c:v>
                </c:pt>
                <c:pt idx="9">
                  <c:v>3.9842533341315559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E$2:$E$14</c:f>
              <c:numCache>
                <c:formatCode>General</c:formatCode>
                <c:ptCount val="13"/>
                <c:pt idx="1">
                  <c:v>2.5398160212401056E-4</c:v>
                </c:pt>
                <c:pt idx="4">
                  <c:v>7.2726081771241943E-2</c:v>
                </c:pt>
                <c:pt idx="6">
                  <c:v>4.416413057141879E-2</c:v>
                </c:pt>
                <c:pt idx="7">
                  <c:v>1.338654665456000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F$2:$F$14</c:f>
              <c:numCache>
                <c:formatCode>General</c:formatCode>
                <c:ptCount val="13"/>
                <c:pt idx="0">
                  <c:v>1.2363996675507241E-2</c:v>
                </c:pt>
                <c:pt idx="1">
                  <c:v>1.2544411333323277E-2</c:v>
                </c:pt>
                <c:pt idx="3">
                  <c:v>2.7492145277720789E-7</c:v>
                </c:pt>
                <c:pt idx="4">
                  <c:v>5.7655697220939696E-2</c:v>
                </c:pt>
                <c:pt idx="5">
                  <c:v>3.6080895108001338E-5</c:v>
                </c:pt>
                <c:pt idx="6">
                  <c:v>0.2224551830811668</c:v>
                </c:pt>
                <c:pt idx="7">
                  <c:v>1.886164811572222E-4</c:v>
                </c:pt>
                <c:pt idx="8">
                  <c:v>6.6088281483766761E-2</c:v>
                </c:pt>
                <c:pt idx="9">
                  <c:v>3.8896294429960522E-6</c:v>
                </c:pt>
                <c:pt idx="10">
                  <c:v>9.8994124007058173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3">
                  <c:v>0.23300000000000001</c:v>
                </c:pt>
                <c:pt idx="6">
                  <c:v>0.15</c:v>
                </c:pt>
                <c:pt idx="8">
                  <c:v>0.39340000000000003</c:v>
                </c:pt>
                <c:pt idx="9">
                  <c:v>0.2235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2.5205229389434692E-2</c:v>
                </c:pt>
                <c:pt idx="1">
                  <c:v>7.0854005164393927E-2</c:v>
                </c:pt>
                <c:pt idx="4">
                  <c:v>0.22945432953046957</c:v>
                </c:pt>
                <c:pt idx="5">
                  <c:v>3.8148882224123101E-3</c:v>
                </c:pt>
                <c:pt idx="6">
                  <c:v>0.45957844987696017</c:v>
                </c:pt>
                <c:pt idx="7">
                  <c:v>0.19641326098319853</c:v>
                </c:pt>
                <c:pt idx="9">
                  <c:v>1.467023590153841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aprice Des Dieux</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C$2:$C$14</c:f>
              <c:numCache>
                <c:formatCode>General</c:formatCode>
                <c:ptCount val="13"/>
                <c:pt idx="6">
                  <c:v>9.9930715451976682E-2</c:v>
                </c:pt>
                <c:pt idx="7">
                  <c:v>7.9599416074447649E-2</c:v>
                </c:pt>
                <c:pt idx="9">
                  <c:v>3.2377137717328739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D$2:$D$14</c:f>
              <c:numCache>
                <c:formatCode>General</c:formatCode>
                <c:ptCount val="13"/>
                <c:pt idx="1">
                  <c:v>5.63293554281281E-2</c:v>
                </c:pt>
                <c:pt idx="4">
                  <c:v>7.5908432690236213E-2</c:v>
                </c:pt>
                <c:pt idx="6">
                  <c:v>9.789431746896525E-2</c:v>
                </c:pt>
                <c:pt idx="7">
                  <c:v>5.8125506410302778E-2</c:v>
                </c:pt>
                <c:pt idx="9">
                  <c:v>4.0925633209713107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E$2:$E$14</c:f>
              <c:numCache>
                <c:formatCode>General</c:formatCode>
                <c:ptCount val="13"/>
                <c:pt idx="1">
                  <c:v>1.1702211987525574E-2</c:v>
                </c:pt>
                <c:pt idx="4">
                  <c:v>5.187640607041364E-2</c:v>
                </c:pt>
                <c:pt idx="6">
                  <c:v>8.5594710039561803E-2</c:v>
                </c:pt>
                <c:pt idx="7">
                  <c:v>2.3626798950477115E-2</c:v>
                </c:pt>
                <c:pt idx="9">
                  <c:v>7.281091737653283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F$2:$F$14</c:f>
              <c:numCache>
                <c:formatCode>General</c:formatCode>
                <c:ptCount val="13"/>
                <c:pt idx="0">
                  <c:v>2.5205229389434692E-2</c:v>
                </c:pt>
                <c:pt idx="1">
                  <c:v>2.8224377487402518E-3</c:v>
                </c:pt>
                <c:pt idx="4">
                  <c:v>0.10166949076981972</c:v>
                </c:pt>
                <c:pt idx="5">
                  <c:v>3.8148882224123101E-3</c:v>
                </c:pt>
                <c:pt idx="6">
                  <c:v>0.17615870691645644</c:v>
                </c:pt>
                <c:pt idx="7">
                  <c:v>3.5061539547970991E-2</c:v>
                </c:pt>
                <c:pt idx="8">
                  <c:v>9.600931592374348E-6</c:v>
                </c:pt>
                <c:pt idx="10">
                  <c:v>5.8867071180946402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1.794904042781517E-3</c:v>
                </c:pt>
                <c:pt idx="3">
                  <c:v>5.3250800681535662E-2</c:v>
                </c:pt>
                <c:pt idx="4">
                  <c:v>1.2097336922149603E-2</c:v>
                </c:pt>
                <c:pt idx="5">
                  <c:v>0.13317494056842391</c:v>
                </c:pt>
                <c:pt idx="6">
                  <c:v>4.9617802949127432E-2</c:v>
                </c:pt>
                <c:pt idx="7">
                  <c:v>0.45066032068205897</c:v>
                </c:pt>
                <c:pt idx="8">
                  <c:v>0.13758282380576167</c:v>
                </c:pt>
                <c:pt idx="9">
                  <c:v>4.3181035605857232E-2</c:v>
                </c:pt>
                <c:pt idx="10">
                  <c:v>0.11445756851909025</c:v>
                </c:pt>
                <c:pt idx="12">
                  <c:v>3.9161467489326656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50 GR</c:v>
                </c:pt>
                <c:pt idx="8">
                  <c:v>150-249 GR</c:v>
                </c:pt>
                <c:pt idx="9">
                  <c:v>50-149 GR</c:v>
                </c:pt>
                <c:pt idx="10">
                  <c:v>50-150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oignon</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50 GR</c:v>
                </c:pt>
                <c:pt idx="8">
                  <c:v>150-249 GR</c:v>
                </c:pt>
                <c:pt idx="9">
                  <c:v>50-149 GR</c:v>
                </c:pt>
                <c:pt idx="10">
                  <c:v>50-150 GR</c:v>
                </c:pt>
                <c:pt idx="11">
                  <c:v>0-49 GR</c:v>
                </c:pt>
                <c:pt idx="12">
                  <c:v>0-50 GR</c:v>
                </c:pt>
              </c:strCache>
            </c:strRef>
          </c:cat>
          <c:val>
            <c:numRef>
              <c:f>Sheet1!$C$2:$C$14</c:f>
              <c:numCache>
                <c:formatCode>General</c:formatCode>
                <c:ptCount val="13"/>
                <c:pt idx="2">
                  <c:v>3.3512042230674324E-4</c:v>
                </c:pt>
                <c:pt idx="3">
                  <c:v>3.3468966263556457E-2</c:v>
                </c:pt>
                <c:pt idx="5">
                  <c:v>4.8992233294762211E-2</c:v>
                </c:pt>
                <c:pt idx="7">
                  <c:v>0.15638974953160678</c:v>
                </c:pt>
                <c:pt idx="10">
                  <c:v>8.833627784009418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50 GR</c:v>
                </c:pt>
                <c:pt idx="8">
                  <c:v>150-249 GR</c:v>
                </c:pt>
                <c:pt idx="9">
                  <c:v>50-149 GR</c:v>
                </c:pt>
                <c:pt idx="10">
                  <c:v>50-150 GR</c:v>
                </c:pt>
                <c:pt idx="11">
                  <c:v>0-49 GR</c:v>
                </c:pt>
                <c:pt idx="12">
                  <c:v>0-50 GR</c:v>
                </c:pt>
              </c:strCache>
            </c:strRef>
          </c:cat>
          <c:val>
            <c:numRef>
              <c:f>Sheet1!$D$2:$D$14</c:f>
              <c:numCache>
                <c:formatCode>General</c:formatCode>
                <c:ptCount val="13"/>
                <c:pt idx="1">
                  <c:v>5.9198718012955866E-5</c:v>
                </c:pt>
                <c:pt idx="2">
                  <c:v>3.1922997346317285E-5</c:v>
                </c:pt>
                <c:pt idx="3">
                  <c:v>1.3676061664302791E-2</c:v>
                </c:pt>
                <c:pt idx="4">
                  <c:v>1.0548868286558133E-2</c:v>
                </c:pt>
                <c:pt idx="5">
                  <c:v>4.4745512076967246E-2</c:v>
                </c:pt>
                <c:pt idx="6">
                  <c:v>4.9037724956086076E-2</c:v>
                </c:pt>
                <c:pt idx="7">
                  <c:v>0.1149777879574404</c:v>
                </c:pt>
                <c:pt idx="8">
                  <c:v>0.13640114528173514</c:v>
                </c:pt>
                <c:pt idx="9">
                  <c:v>4.2830538764778374E-2</c:v>
                </c:pt>
                <c:pt idx="10">
                  <c:v>3.5357179120799359E-2</c:v>
                </c:pt>
                <c:pt idx="11">
                  <c:v>5.2948804307607585E-5</c:v>
                </c:pt>
                <c:pt idx="12">
                  <c:v>3.7490029515631416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50 GR</c:v>
                </c:pt>
                <c:pt idx="8">
                  <c:v>150-249 GR</c:v>
                </c:pt>
                <c:pt idx="9">
                  <c:v>50-149 GR</c:v>
                </c:pt>
                <c:pt idx="10">
                  <c:v>50-150 GR</c:v>
                </c:pt>
                <c:pt idx="11">
                  <c:v>0-49 GR</c:v>
                </c:pt>
                <c:pt idx="12">
                  <c:v>0-50 GR</c:v>
                </c:pt>
              </c:strCache>
            </c:strRef>
          </c:cat>
          <c:val>
            <c:numRef>
              <c:f>Sheet1!$E$2:$E$14</c:f>
              <c:numCache>
                <c:formatCode>General</c:formatCode>
                <c:ptCount val="13"/>
                <c:pt idx="3">
                  <c:v>2.1390953659405658E-3</c:v>
                </c:pt>
                <c:pt idx="5">
                  <c:v>2.3546841498113261E-2</c:v>
                </c:pt>
                <c:pt idx="7">
                  <c:v>4.9812552385502723E-2</c:v>
                </c:pt>
                <c:pt idx="9">
                  <c:v>1.2010510323445093E-6</c:v>
                </c:pt>
                <c:pt idx="10">
                  <c:v>6.936255059171077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50 GR</c:v>
                </c:pt>
                <c:pt idx="8">
                  <c:v>150-249 GR</c:v>
                </c:pt>
                <c:pt idx="9">
                  <c:v>50-149 GR</c:v>
                </c:pt>
                <c:pt idx="10">
                  <c:v>50-150 GR</c:v>
                </c:pt>
                <c:pt idx="11">
                  <c:v>0-49 GR</c:v>
                </c:pt>
                <c:pt idx="12">
                  <c:v>0-50 GR</c:v>
                </c:pt>
              </c:strCache>
            </c:strRef>
          </c:cat>
          <c:val>
            <c:numRef>
              <c:f>Sheet1!$F$2:$F$14</c:f>
              <c:numCache>
                <c:formatCode>General</c:formatCode>
                <c:ptCount val="13"/>
                <c:pt idx="3">
                  <c:v>3.9666773877358504E-3</c:v>
                </c:pt>
                <c:pt idx="4">
                  <c:v>1.5484686355914713E-3</c:v>
                </c:pt>
                <c:pt idx="5">
                  <c:v>1.5890353698581171E-2</c:v>
                </c:pt>
                <c:pt idx="7">
                  <c:v>0.12948023080750909</c:v>
                </c:pt>
                <c:pt idx="8">
                  <c:v>1.1816785240265082E-3</c:v>
                </c:pt>
                <c:pt idx="10">
                  <c:v>6.957313610836438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1.9200574149634607E-3</c:v>
                </c:pt>
                <c:pt idx="3">
                  <c:v>6.1681669626251878E-2</c:v>
                </c:pt>
                <c:pt idx="4">
                  <c:v>2.7371261184344724E-2</c:v>
                </c:pt>
                <c:pt idx="5">
                  <c:v>3.4117434126563401E-2</c:v>
                </c:pt>
                <c:pt idx="6">
                  <c:v>0.11202142177201879</c:v>
                </c:pt>
                <c:pt idx="7">
                  <c:v>0.44086480824993957</c:v>
                </c:pt>
                <c:pt idx="8">
                  <c:v>0.12558123125571202</c:v>
                </c:pt>
                <c:pt idx="9">
                  <c:v>6.4350498199608197E-2</c:v>
                </c:pt>
                <c:pt idx="10">
                  <c:v>0.13114877323465615</c:v>
                </c:pt>
                <c:pt idx="12">
                  <c:v>5.0455592082050151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49 GR</c:v>
                </c:pt>
                <c:pt idx="6">
                  <c:v>250-350 GR</c:v>
                </c:pt>
                <c:pt idx="7">
                  <c:v>150-250 GR</c:v>
                </c:pt>
                <c:pt idx="8">
                  <c:v>150-249 GR</c:v>
                </c:pt>
                <c:pt idx="9">
                  <c:v>50-149 GR</c:v>
                </c:pt>
                <c:pt idx="10">
                  <c:v>50-150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oignon</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49 GR</c:v>
                </c:pt>
                <c:pt idx="6">
                  <c:v>250-350 GR</c:v>
                </c:pt>
                <c:pt idx="7">
                  <c:v>150-250 GR</c:v>
                </c:pt>
                <c:pt idx="8">
                  <c:v>150-249 GR</c:v>
                </c:pt>
                <c:pt idx="9">
                  <c:v>50-149 GR</c:v>
                </c:pt>
                <c:pt idx="10">
                  <c:v>50-150 GR</c:v>
                </c:pt>
                <c:pt idx="11">
                  <c:v>0-49 GR</c:v>
                </c:pt>
                <c:pt idx="12">
                  <c:v>0-50 GR</c:v>
                </c:pt>
              </c:strCache>
            </c:strRef>
          </c:cat>
          <c:val>
            <c:numRef>
              <c:f>Sheet1!$C$2:$C$14</c:f>
              <c:numCache>
                <c:formatCode>General</c:formatCode>
                <c:ptCount val="13"/>
                <c:pt idx="2">
                  <c:v>4.0567911570269795E-5</c:v>
                </c:pt>
                <c:pt idx="3">
                  <c:v>3.2908010742209462E-2</c:v>
                </c:pt>
                <c:pt idx="6">
                  <c:v>5.2867011871372105E-2</c:v>
                </c:pt>
                <c:pt idx="7">
                  <c:v>0.16366770150492665</c:v>
                </c:pt>
                <c:pt idx="10">
                  <c:v>7.836428086334947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49 GR</c:v>
                </c:pt>
                <c:pt idx="6">
                  <c:v>250-350 GR</c:v>
                </c:pt>
                <c:pt idx="7">
                  <c:v>150-250 GR</c:v>
                </c:pt>
                <c:pt idx="8">
                  <c:v>150-249 GR</c:v>
                </c:pt>
                <c:pt idx="9">
                  <c:v>50-149 GR</c:v>
                </c:pt>
                <c:pt idx="10">
                  <c:v>50-150 GR</c:v>
                </c:pt>
                <c:pt idx="11">
                  <c:v>0-49 GR</c:v>
                </c:pt>
                <c:pt idx="12">
                  <c:v>0-50 GR</c:v>
                </c:pt>
              </c:strCache>
            </c:strRef>
          </c:cat>
          <c:val>
            <c:numRef>
              <c:f>Sheet1!$D$2:$D$14</c:f>
              <c:numCache>
                <c:formatCode>General</c:formatCode>
                <c:ptCount val="13"/>
                <c:pt idx="3">
                  <c:v>1.9290079348336934E-2</c:v>
                </c:pt>
                <c:pt idx="4">
                  <c:v>2.7370782506922067E-2</c:v>
                </c:pt>
                <c:pt idx="5">
                  <c:v>3.2974875994687007E-2</c:v>
                </c:pt>
                <c:pt idx="6">
                  <c:v>2.2449499924574647E-2</c:v>
                </c:pt>
                <c:pt idx="7">
                  <c:v>8.1704476959987907E-2</c:v>
                </c:pt>
                <c:pt idx="8">
                  <c:v>0.12444933117582449</c:v>
                </c:pt>
                <c:pt idx="9">
                  <c:v>6.3659512381331843E-2</c:v>
                </c:pt>
                <c:pt idx="10">
                  <c:v>4.1597905714474255E-2</c:v>
                </c:pt>
                <c:pt idx="11">
                  <c:v>3.0597958376470086E-4</c:v>
                </c:pt>
                <c:pt idx="12">
                  <c:v>2.1225604027520032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49 GR</c:v>
                </c:pt>
                <c:pt idx="6">
                  <c:v>250-350 GR</c:v>
                </c:pt>
                <c:pt idx="7">
                  <c:v>150-250 GR</c:v>
                </c:pt>
                <c:pt idx="8">
                  <c:v>150-249 GR</c:v>
                </c:pt>
                <c:pt idx="9">
                  <c:v>50-149 GR</c:v>
                </c:pt>
                <c:pt idx="10">
                  <c:v>50-150 GR</c:v>
                </c:pt>
                <c:pt idx="11">
                  <c:v>0-49 GR</c:v>
                </c:pt>
                <c:pt idx="12">
                  <c:v>0-50 GR</c:v>
                </c:pt>
              </c:strCache>
            </c:strRef>
          </c:cat>
          <c:val>
            <c:numRef>
              <c:f>Sheet1!$E$2:$E$14</c:f>
              <c:numCache>
                <c:formatCode>General</c:formatCode>
                <c:ptCount val="13"/>
                <c:pt idx="3">
                  <c:v>5.2155196105875398E-3</c:v>
                </c:pt>
                <c:pt idx="6">
                  <c:v>2.361021788117313E-2</c:v>
                </c:pt>
                <c:pt idx="7">
                  <c:v>3.766274349881079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49 GR</c:v>
                </c:pt>
                <c:pt idx="6">
                  <c:v>250-350 GR</c:v>
                </c:pt>
                <c:pt idx="7">
                  <c:v>150-250 GR</c:v>
                </c:pt>
                <c:pt idx="8">
                  <c:v>150-249 GR</c:v>
                </c:pt>
                <c:pt idx="9">
                  <c:v>50-149 GR</c:v>
                </c:pt>
                <c:pt idx="10">
                  <c:v>50-150 GR</c:v>
                </c:pt>
                <c:pt idx="11">
                  <c:v>0-49 GR</c:v>
                </c:pt>
                <c:pt idx="12">
                  <c:v>0-50 GR</c:v>
                </c:pt>
              </c:strCache>
            </c:strRef>
          </c:cat>
          <c:val>
            <c:numRef>
              <c:f>Sheet1!$F$2:$F$14</c:f>
              <c:numCache>
                <c:formatCode>General</c:formatCode>
                <c:ptCount val="13"/>
                <c:pt idx="4">
                  <c:v>6.251826313303303E-4</c:v>
                </c:pt>
                <c:pt idx="6">
                  <c:v>1.3094692094898906E-2</c:v>
                </c:pt>
                <c:pt idx="7">
                  <c:v>0.15782988628621419</c:v>
                </c:pt>
                <c:pt idx="8">
                  <c:v>1.1319000798875223E-3</c:v>
                </c:pt>
                <c:pt idx="9">
                  <c:v>1.4489662815210672E-2</c:v>
                </c:pt>
                <c:pt idx="12">
                  <c:v>2.9229988054530121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2.9228917147230055E-2</c:v>
                </c:pt>
                <c:pt idx="1">
                  <c:v>8.8026111166818521E-2</c:v>
                </c:pt>
                <c:pt idx="4">
                  <c:v>0.14262715024337333</c:v>
                </c:pt>
                <c:pt idx="5">
                  <c:v>0.22104468597369087</c:v>
                </c:pt>
                <c:pt idx="6">
                  <c:v>9.693855530901747E-4</c:v>
                </c:pt>
                <c:pt idx="7">
                  <c:v>0.36373832536069917</c:v>
                </c:pt>
                <c:pt idx="8">
                  <c:v>1.866192861775446E-3</c:v>
                </c:pt>
                <c:pt idx="10">
                  <c:v>0.14790646668867971</c:v>
                </c:pt>
                <c:pt idx="11">
                  <c:v>3.8765162308540694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3.2845213709128342E-3</c:v>
                </c:pt>
                <c:pt idx="3">
                  <c:v>9.7217668156847847E-2</c:v>
                </c:pt>
                <c:pt idx="5">
                  <c:v>0.19111521943318921</c:v>
                </c:pt>
                <c:pt idx="7">
                  <c:v>3.4411113190741596E-3</c:v>
                </c:pt>
                <c:pt idx="8">
                  <c:v>0.56736849062265338</c:v>
                </c:pt>
                <c:pt idx="9">
                  <c:v>0.10745682504514192</c:v>
                </c:pt>
                <c:pt idx="12">
                  <c:v>3.002206063263369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oignon</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C$2:$C$14</c:f>
              <c:numCache>
                <c:formatCode>General</c:formatCode>
                <c:ptCount val="13"/>
                <c:pt idx="3">
                  <c:v>4.4275361005366644E-2</c:v>
                </c:pt>
                <c:pt idx="5">
                  <c:v>7.0573777903913226E-2</c:v>
                </c:pt>
                <c:pt idx="8">
                  <c:v>0.21077122139907115</c:v>
                </c:pt>
                <c:pt idx="9">
                  <c:v>8.797978013486810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D$2:$D$14</c:f>
              <c:numCache>
                <c:formatCode>General</c:formatCode>
                <c:ptCount val="13"/>
                <c:pt idx="3">
                  <c:v>5.2253107399629878E-2</c:v>
                </c:pt>
                <c:pt idx="5">
                  <c:v>8.8802657434521051E-2</c:v>
                </c:pt>
                <c:pt idx="8">
                  <c:v>0.1899503525949808</c:v>
                </c:pt>
                <c:pt idx="9">
                  <c:v>5.7897636301643719E-2</c:v>
                </c:pt>
                <c:pt idx="12">
                  <c:v>3.002206063263369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E$2:$E$14</c:f>
              <c:numCache>
                <c:formatCode>General</c:formatCode>
                <c:ptCount val="13"/>
                <c:pt idx="3">
                  <c:v>3.6352860861596125E-7</c:v>
                </c:pt>
                <c:pt idx="5">
                  <c:v>2.5092572307733631E-2</c:v>
                </c:pt>
                <c:pt idx="8">
                  <c:v>7.850165019267774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F$2:$F$14</c:f>
              <c:numCache>
                <c:formatCode>General</c:formatCode>
                <c:ptCount val="13"/>
                <c:pt idx="2">
                  <c:v>3.2845213709128342E-3</c:v>
                </c:pt>
                <c:pt idx="3">
                  <c:v>6.8883622324271659E-4</c:v>
                </c:pt>
                <c:pt idx="5">
                  <c:v>6.6462117870213118E-3</c:v>
                </c:pt>
                <c:pt idx="7">
                  <c:v>3.4411113190741596E-3</c:v>
                </c:pt>
                <c:pt idx="8">
                  <c:v>8.8145266435923617E-2</c:v>
                </c:pt>
                <c:pt idx="9">
                  <c:v>9.4103419547003967E-5</c:v>
                </c:pt>
                <c:pt idx="10">
                  <c:v>4.076121073001139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1.1365210675183357E-3</c:v>
                </c:pt>
                <c:pt idx="3">
                  <c:v>4.8473048402440178E-3</c:v>
                </c:pt>
                <c:pt idx="5">
                  <c:v>3.061400700725753E-2</c:v>
                </c:pt>
                <c:pt idx="7">
                  <c:v>0.18532018079823825</c:v>
                </c:pt>
                <c:pt idx="8">
                  <c:v>0.70489681660115278</c:v>
                </c:pt>
                <c:pt idx="9">
                  <c:v>6.6737756998520831E-2</c:v>
                </c:pt>
                <c:pt idx="10">
                  <c:v>6.078194301694659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C$2:$C$14</c:f>
              <c:numCache>
                <c:formatCode>General</c:formatCode>
                <c:ptCount val="13"/>
                <c:pt idx="7">
                  <c:v>0.18339214263108336</c:v>
                </c:pt>
                <c:pt idx="8">
                  <c:v>0.157485835080581</c:v>
                </c:pt>
                <c:pt idx="9">
                  <c:v>7.0224778476539566E-3</c:v>
                </c:pt>
                <c:pt idx="10">
                  <c:v>5.9821361072420328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D$2:$D$14</c:f>
              <c:numCache>
                <c:formatCode>General</c:formatCode>
                <c:ptCount val="13"/>
                <c:pt idx="7">
                  <c:v>5.6932347279614364E-7</c:v>
                </c:pt>
                <c:pt idx="8">
                  <c:v>0.1810347982256440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E$2:$E$14</c:f>
              <c:numCache>
                <c:formatCode>General</c:formatCode>
                <c:ptCount val="13"/>
                <c:pt idx="5">
                  <c:v>1.1224575664137333E-3</c:v>
                </c:pt>
                <c:pt idx="8">
                  <c:v>0.16484119757410542</c:v>
                </c:pt>
                <c:pt idx="9">
                  <c:v>1.84260815174549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50 GR</c:v>
                </c:pt>
                <c:pt idx="4">
                  <c:v>350-449 GR</c:v>
                </c:pt>
                <c:pt idx="5">
                  <c:v>250-350 GR</c:v>
                </c:pt>
                <c:pt idx="6">
                  <c:v>250-349 GR</c:v>
                </c:pt>
                <c:pt idx="7">
                  <c:v>150-249 GR</c:v>
                </c:pt>
                <c:pt idx="8">
                  <c:v>150-250 GR</c:v>
                </c:pt>
                <c:pt idx="9">
                  <c:v>50-150 GR</c:v>
                </c:pt>
                <c:pt idx="10">
                  <c:v>50-149 GR</c:v>
                </c:pt>
                <c:pt idx="11">
                  <c:v>0-49 GR</c:v>
                </c:pt>
                <c:pt idx="12">
                  <c:v>0-50 GR</c:v>
                </c:pt>
              </c:strCache>
            </c:strRef>
          </c:cat>
          <c:val>
            <c:numRef>
              <c:f>Sheet1!$F$2:$F$14</c:f>
              <c:numCache>
                <c:formatCode>General</c:formatCode>
                <c:ptCount val="13"/>
                <c:pt idx="2">
                  <c:v>1.1365210675183357E-3</c:v>
                </c:pt>
                <c:pt idx="3">
                  <c:v>4.8473048402440178E-3</c:v>
                </c:pt>
                <c:pt idx="4">
                  <c:v>2.50138930068944E-6</c:v>
                </c:pt>
                <c:pt idx="5">
                  <c:v>1.2718928647573422E-7</c:v>
                </c:pt>
                <c:pt idx="6">
                  <c:v>2.9491549440843798E-2</c:v>
                </c:pt>
                <c:pt idx="7">
                  <c:v>1.9274688436821017E-3</c:v>
                </c:pt>
                <c:pt idx="8">
                  <c:v>0.20153498572082221</c:v>
                </c:pt>
                <c:pt idx="9">
                  <c:v>4.1289197633411961E-2</c:v>
                </c:pt>
                <c:pt idx="10">
                  <c:v>9.6058194452625952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6.9766865028658774E-4</c:v>
                </c:pt>
                <c:pt idx="1">
                  <c:v>1.4491880932194251E-3</c:v>
                </c:pt>
                <c:pt idx="4">
                  <c:v>4.4576960941318028E-3</c:v>
                </c:pt>
                <c:pt idx="6">
                  <c:v>3.0277145264557645E-2</c:v>
                </c:pt>
                <c:pt idx="7">
                  <c:v>0.70390349968817845</c:v>
                </c:pt>
                <c:pt idx="8">
                  <c:v>0.13449200745841194</c:v>
                </c:pt>
                <c:pt idx="9">
                  <c:v>1.0069558173919621E-2</c:v>
                </c:pt>
                <c:pt idx="10">
                  <c:v>0.1146532365772945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49 GR</c:v>
                </c:pt>
                <c:pt idx="10">
                  <c:v>50-150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Istara</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49 GR</c:v>
                </c:pt>
                <c:pt idx="10">
                  <c:v>50-150 GR</c:v>
                </c:pt>
                <c:pt idx="11">
                  <c:v>0-49 GR</c:v>
                </c:pt>
                <c:pt idx="12">
                  <c:v>0-50 GR</c:v>
                </c:pt>
              </c:strCache>
            </c:strRef>
          </c:cat>
          <c:val>
            <c:numRef>
              <c:f>Sheet1!$C$2:$C$14</c:f>
              <c:numCache>
                <c:formatCode>General</c:formatCode>
                <c:ptCount val="13"/>
                <c:pt idx="7">
                  <c:v>0.1861340303796392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ou Pera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49 GR</c:v>
                </c:pt>
                <c:pt idx="10">
                  <c:v>50-150 GR</c:v>
                </c:pt>
                <c:pt idx="11">
                  <c:v>0-49 GR</c:v>
                </c:pt>
                <c:pt idx="12">
                  <c:v>0-50 GR</c:v>
                </c:pt>
              </c:strCache>
            </c:strRef>
          </c:cat>
          <c:val>
            <c:numRef>
              <c:f>Sheet1!$D$2:$D$14</c:f>
              <c:numCache>
                <c:formatCode>General</c:formatCode>
                <c:ptCount val="13"/>
                <c:pt idx="7">
                  <c:v>0.17811388833158634</c:v>
                </c:pt>
                <c:pt idx="10">
                  <c:v>2.073930580542019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49 GR</c:v>
                </c:pt>
                <c:pt idx="10">
                  <c:v>50-150 GR</c:v>
                </c:pt>
                <c:pt idx="11">
                  <c:v>0-49 GR</c:v>
                </c:pt>
                <c:pt idx="12">
                  <c:v>0-50 GR</c:v>
                </c:pt>
              </c:strCache>
            </c:strRef>
          </c:cat>
          <c:val>
            <c:numRef>
              <c:f>Sheet1!$E$2:$E$14</c:f>
              <c:numCache>
                <c:formatCode>General</c:formatCode>
                <c:ptCount val="13"/>
                <c:pt idx="0">
                  <c:v>8.671674918966323E-5</c:v>
                </c:pt>
                <c:pt idx="7">
                  <c:v>7.9365884543051921E-2</c:v>
                </c:pt>
                <c:pt idx="8">
                  <c:v>0.12535820324438682</c:v>
                </c:pt>
                <c:pt idx="9">
                  <c:v>9.8713980580000041E-3</c:v>
                </c:pt>
                <c:pt idx="10">
                  <c:v>6.2286002408395696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49 GR</c:v>
                </c:pt>
                <c:pt idx="10">
                  <c:v>50-150 GR</c:v>
                </c:pt>
                <c:pt idx="11">
                  <c:v>0-49 GR</c:v>
                </c:pt>
                <c:pt idx="12">
                  <c:v>0-50 GR</c:v>
                </c:pt>
              </c:strCache>
            </c:strRef>
          </c:cat>
          <c:val>
            <c:numRef>
              <c:f>Sheet1!$F$2:$F$14</c:f>
              <c:numCache>
                <c:formatCode>General</c:formatCode>
                <c:ptCount val="13"/>
                <c:pt idx="0">
                  <c:v>6.1095190109692449E-4</c:v>
                </c:pt>
                <c:pt idx="1">
                  <c:v>1.4491880932194251E-3</c:v>
                </c:pt>
                <c:pt idx="4">
                  <c:v>4.4576960941318028E-3</c:v>
                </c:pt>
                <c:pt idx="6">
                  <c:v>3.0277145264557642E-2</c:v>
                </c:pt>
                <c:pt idx="7">
                  <c:v>9.1338042140251142E-3</c:v>
                </c:pt>
                <c:pt idx="8">
                  <c:v>0.26028969643390099</c:v>
                </c:pt>
                <c:pt idx="9">
                  <c:v>8.7685330531034777E-2</c:v>
                </c:pt>
                <c:pt idx="10">
                  <c:v>1.9816011591961742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6">
                  <c:v>4.3253304601556915E-2</c:v>
                </c:pt>
                <c:pt idx="7">
                  <c:v>0.86281742512960802</c:v>
                </c:pt>
                <c:pt idx="10">
                  <c:v>9.336604484905444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50 GR</c:v>
                </c:pt>
                <c:pt idx="12">
                  <c:v>0-49 GR</c:v>
                </c:pt>
              </c:strCache>
            </c:strRef>
          </c:cat>
          <c:val>
            <c:numRef>
              <c:f>Sheet1!$B$2:$B$14</c:f>
              <c:numCache>
                <c:formatCode>General</c:formatCode>
                <c:ptCount val="13"/>
                <c:pt idx="4">
                  <c:v>2.8474788056236087E-3</c:v>
                </c:pt>
                <c:pt idx="5">
                  <c:v>1.8326672818652619E-3</c:v>
                </c:pt>
                <c:pt idx="7">
                  <c:v>4.8076882359033533E-3</c:v>
                </c:pt>
                <c:pt idx="10">
                  <c:v>2.732792688636377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50 GR</c:v>
                </c:pt>
                <c:pt idx="12">
                  <c:v>0-49 GR</c:v>
                </c:pt>
              </c:strCache>
            </c:strRef>
          </c:cat>
          <c:val>
            <c:numRef>
              <c:f>Sheet1!$C$2:$C$14</c:f>
              <c:numCache>
                <c:formatCode>General</c:formatCode>
                <c:ptCount val="13"/>
                <c:pt idx="0">
                  <c:v>1.4819855950263873E-2</c:v>
                </c:pt>
                <c:pt idx="1">
                  <c:v>5.4048142332021404E-2</c:v>
                </c:pt>
                <c:pt idx="4">
                  <c:v>7.0222121926766898E-2</c:v>
                </c:pt>
                <c:pt idx="5">
                  <c:v>7.2121316719996581E-2</c:v>
                </c:pt>
                <c:pt idx="7">
                  <c:v>0.16867305426458251</c:v>
                </c:pt>
                <c:pt idx="10">
                  <c:v>6.7897128466475332E-2</c:v>
                </c:pt>
                <c:pt idx="11">
                  <c:v>3.8566673254737389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50 GR</c:v>
                </c:pt>
                <c:pt idx="12">
                  <c:v>0-49 GR</c:v>
                </c:pt>
              </c:strCache>
            </c:strRef>
          </c:cat>
          <c:val>
            <c:numRef>
              <c:f>Sheet1!$D$2:$D$14</c:f>
              <c:numCache>
                <c:formatCode>General</c:formatCode>
                <c:ptCount val="13"/>
                <c:pt idx="0">
                  <c:v>1.4398016264472726E-3</c:v>
                </c:pt>
                <c:pt idx="1">
                  <c:v>2.9379442276111951E-3</c:v>
                </c:pt>
                <c:pt idx="4">
                  <c:v>1.719972450037642E-2</c:v>
                </c:pt>
                <c:pt idx="5">
                  <c:v>2.0891965500169651E-2</c:v>
                </c:pt>
                <c:pt idx="7">
                  <c:v>2.8939038293364288E-2</c:v>
                </c:pt>
                <c:pt idx="10">
                  <c:v>4.9940061933018394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50 GR</c:v>
                </c:pt>
                <c:pt idx="12">
                  <c:v>0-49 GR</c:v>
                </c:pt>
              </c:strCache>
            </c:strRef>
          </c:cat>
          <c:val>
            <c:numRef>
              <c:f>Sheet1!$E$2:$E$14</c:f>
              <c:numCache>
                <c:formatCode>General</c:formatCode>
                <c:ptCount val="13"/>
                <c:pt idx="4">
                  <c:v>3.115289109907726E-3</c:v>
                </c:pt>
                <c:pt idx="5">
                  <c:v>4.9656900984377814E-3</c:v>
                </c:pt>
                <c:pt idx="7">
                  <c:v>1.5775445462554726E-2</c:v>
                </c:pt>
                <c:pt idx="10">
                  <c:v>1.8930154572441191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50 GR</c:v>
                </c:pt>
                <c:pt idx="6">
                  <c:v>250-349 GR</c:v>
                </c:pt>
                <c:pt idx="7">
                  <c:v>150-250 GR</c:v>
                </c:pt>
                <c:pt idx="8">
                  <c:v>150-249 GR</c:v>
                </c:pt>
                <c:pt idx="9">
                  <c:v>50-149 GR</c:v>
                </c:pt>
                <c:pt idx="10">
                  <c:v>50-150 GR</c:v>
                </c:pt>
                <c:pt idx="11">
                  <c:v>0-50 GR</c:v>
                </c:pt>
                <c:pt idx="12">
                  <c:v>0-49 GR</c:v>
                </c:pt>
              </c:strCache>
            </c:strRef>
          </c:cat>
          <c:val>
            <c:numRef>
              <c:f>Sheet1!$F$2:$F$14</c:f>
              <c:numCache>
                <c:formatCode>General</c:formatCode>
                <c:ptCount val="13"/>
                <c:pt idx="0">
                  <c:v>1.2969259570518912E-2</c:v>
                </c:pt>
                <c:pt idx="1">
                  <c:v>4.4591827808904174E-6</c:v>
                </c:pt>
                <c:pt idx="2">
                  <c:v>3.1040024607185926E-2</c:v>
                </c:pt>
                <c:pt idx="3">
                  <c:v>2.4870601706095271E-4</c:v>
                </c:pt>
                <c:pt idx="4">
                  <c:v>4.9242535900698679E-2</c:v>
                </c:pt>
                <c:pt idx="5">
                  <c:v>9.693855530901747E-4</c:v>
                </c:pt>
                <c:pt idx="6">
                  <c:v>0.12123304637322159</c:v>
                </c:pt>
                <c:pt idx="7">
                  <c:v>1.866192861775446E-3</c:v>
                </c:pt>
                <c:pt idx="8">
                  <c:v>0.14554309910429428</c:v>
                </c:pt>
                <c:pt idx="9">
                  <c:v>4.4786934818405851E-4</c:v>
                </c:pt>
                <c:pt idx="10">
                  <c:v>7.0389523883022026E-2</c:v>
                </c:pt>
                <c:pt idx="11">
                  <c:v>1.9848905380330576E-5</c:v>
                </c:pt>
                <c:pt idx="12">
                  <c:v>1.5214225762779877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49 GR</c:v>
                </c:pt>
                <c:pt idx="10">
                  <c:v>50-150 GR</c:v>
                </c:pt>
                <c:pt idx="11">
                  <c:v>0-50 GR</c:v>
                </c:pt>
                <c:pt idx="12">
                  <c:v>0-49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Istara</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49 GR</c:v>
                </c:pt>
                <c:pt idx="10">
                  <c:v>50-150 GR</c:v>
                </c:pt>
                <c:pt idx="11">
                  <c:v>0-50 GR</c:v>
                </c:pt>
                <c:pt idx="12">
                  <c:v>0-49 GR</c:v>
                </c:pt>
              </c:strCache>
            </c:strRef>
          </c:cat>
          <c:val>
            <c:numRef>
              <c:f>Sheet1!$C$2:$C$14</c:f>
              <c:numCache>
                <c:formatCode>General</c:formatCode>
                <c:ptCount val="13"/>
                <c:pt idx="7">
                  <c:v>0.2676124875882950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49 GR</c:v>
                </c:pt>
                <c:pt idx="10">
                  <c:v>50-150 GR</c:v>
                </c:pt>
                <c:pt idx="11">
                  <c:v>0-50 GR</c:v>
                </c:pt>
                <c:pt idx="12">
                  <c:v>0-49 GR</c:v>
                </c:pt>
              </c:strCache>
            </c:strRef>
          </c:cat>
          <c:val>
            <c:numRef>
              <c:f>Sheet1!$D$2:$D$14</c:f>
              <c:numCache>
                <c:formatCode>General</c:formatCode>
                <c:ptCount val="13"/>
                <c:pt idx="7">
                  <c:v>0.26754454081973494</c:v>
                </c:pt>
                <c:pt idx="10">
                  <c:v>2.276578368223142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49 GR</c:v>
                </c:pt>
                <c:pt idx="10">
                  <c:v>50-150 GR</c:v>
                </c:pt>
                <c:pt idx="11">
                  <c:v>0-50 GR</c:v>
                </c:pt>
                <c:pt idx="12">
                  <c:v>0-49 GR</c:v>
                </c:pt>
              </c:strCache>
            </c:strRef>
          </c:cat>
          <c:val>
            <c:numRef>
              <c:f>Sheet1!$E$2:$E$14</c:f>
              <c:numCache>
                <c:formatCode>General</c:formatCode>
                <c:ptCount val="13"/>
                <c:pt idx="7">
                  <c:v>0.16700735214488155</c:v>
                </c:pt>
                <c:pt idx="10">
                  <c:v>2.720587661513941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49 GR</c:v>
                </c:pt>
                <c:pt idx="2">
                  <c:v>450-550 GR</c:v>
                </c:pt>
                <c:pt idx="3">
                  <c:v>350-449 GR</c:v>
                </c:pt>
                <c:pt idx="4">
                  <c:v>350-450 GR</c:v>
                </c:pt>
                <c:pt idx="5">
                  <c:v>250-349 GR</c:v>
                </c:pt>
                <c:pt idx="6">
                  <c:v>250-350 GR</c:v>
                </c:pt>
                <c:pt idx="7">
                  <c:v>150-250 GR</c:v>
                </c:pt>
                <c:pt idx="8">
                  <c:v>150-249 GR</c:v>
                </c:pt>
                <c:pt idx="9">
                  <c:v>50-149 GR</c:v>
                </c:pt>
                <c:pt idx="10">
                  <c:v>50-150 GR</c:v>
                </c:pt>
                <c:pt idx="11">
                  <c:v>0-50 GR</c:v>
                </c:pt>
                <c:pt idx="12">
                  <c:v>0-49 GR</c:v>
                </c:pt>
              </c:strCache>
            </c:strRef>
          </c:cat>
          <c:val>
            <c:numRef>
              <c:f>Sheet1!$F$2:$F$14</c:f>
              <c:numCache>
                <c:formatCode>General</c:formatCode>
                <c:ptCount val="13"/>
                <c:pt idx="6">
                  <c:v>4.3253304601556915E-2</c:v>
                </c:pt>
                <c:pt idx="7">
                  <c:v>0.16065304457669638</c:v>
                </c:pt>
                <c:pt idx="10">
                  <c:v>4.339438455168360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2.9517962603237375E-2</c:v>
                </c:pt>
                <c:pt idx="1">
                  <c:v>0.15609582739574643</c:v>
                </c:pt>
                <c:pt idx="4">
                  <c:v>2.4981692301340005E-2</c:v>
                </c:pt>
                <c:pt idx="6">
                  <c:v>0.33239380805694496</c:v>
                </c:pt>
                <c:pt idx="7">
                  <c:v>0.44152779138195869</c:v>
                </c:pt>
                <c:pt idx="9">
                  <c:v>1.542109814398873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C$2:$C$14</c:f>
              <c:numCache>
                <c:formatCode>General</c:formatCode>
                <c:ptCount val="13"/>
                <c:pt idx="0">
                  <c:v>5.6032246709345913E-3</c:v>
                </c:pt>
                <c:pt idx="1">
                  <c:v>4.919947053983257E-2</c:v>
                </c:pt>
                <c:pt idx="4">
                  <c:v>1.3505438663336689E-2</c:v>
                </c:pt>
                <c:pt idx="6">
                  <c:v>0.12289156978116038</c:v>
                </c:pt>
                <c:pt idx="7">
                  <c:v>0.18569110833104732</c:v>
                </c:pt>
                <c:pt idx="9">
                  <c:v>4.015616843895275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D$2:$D$14</c:f>
              <c:numCache>
                <c:formatCode>General</c:formatCode>
                <c:ptCount val="13"/>
                <c:pt idx="1">
                  <c:v>3.2172449604721029E-2</c:v>
                </c:pt>
                <c:pt idx="6">
                  <c:v>6.7868026018800515E-2</c:v>
                </c:pt>
                <c:pt idx="7">
                  <c:v>4.0753274475057045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E$2:$E$14</c:f>
              <c:numCache>
                <c:formatCode>General</c:formatCode>
                <c:ptCount val="13"/>
                <c:pt idx="1">
                  <c:v>2.4947147498910883E-3</c:v>
                </c:pt>
                <c:pt idx="6">
                  <c:v>4.7286741616016793E-2</c:v>
                </c:pt>
                <c:pt idx="7">
                  <c:v>6.1364254645171886E-3</c:v>
                </c:pt>
                <c:pt idx="9">
                  <c:v>6.0247127192103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F$2:$F$14</c:f>
              <c:numCache>
                <c:formatCode>General</c:formatCode>
                <c:ptCount val="13"/>
                <c:pt idx="0">
                  <c:v>2.3914737932302785E-2</c:v>
                </c:pt>
                <c:pt idx="1">
                  <c:v>7.2229192501301734E-2</c:v>
                </c:pt>
                <c:pt idx="4">
                  <c:v>1.1476253638003316E-2</c:v>
                </c:pt>
                <c:pt idx="6">
                  <c:v>9.4347470640967268E-2</c:v>
                </c:pt>
                <c:pt idx="7">
                  <c:v>0.24562493013888845</c:v>
                </c:pt>
                <c:pt idx="8">
                  <c:v>5.5743580764115142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6.295936018988206E-2</c:v>
                </c:pt>
                <c:pt idx="1">
                  <c:v>0.15937207117371918</c:v>
                </c:pt>
                <c:pt idx="4">
                  <c:v>3.7684488257838142E-2</c:v>
                </c:pt>
                <c:pt idx="6">
                  <c:v>0.26112921429863634</c:v>
                </c:pt>
                <c:pt idx="7">
                  <c:v>0.46450291190561643</c:v>
                </c:pt>
                <c:pt idx="9">
                  <c:v>1.43512567817688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C$2:$C$14</c:f>
              <c:numCache>
                <c:formatCode>General</c:formatCode>
                <c:ptCount val="13"/>
                <c:pt idx="0">
                  <c:v>2.9026544909140497E-2</c:v>
                </c:pt>
                <c:pt idx="1">
                  <c:v>4.9076295754269951E-2</c:v>
                </c:pt>
                <c:pt idx="4">
                  <c:v>1.8743264202139311E-2</c:v>
                </c:pt>
                <c:pt idx="6">
                  <c:v>8.2009121296644588E-2</c:v>
                </c:pt>
                <c:pt idx="7">
                  <c:v>0.17396774269164286</c:v>
                </c:pt>
                <c:pt idx="9">
                  <c:v>4.3189377612882556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D$2:$D$14</c:f>
              <c:numCache>
                <c:formatCode>General</c:formatCode>
                <c:ptCount val="13"/>
                <c:pt idx="1">
                  <c:v>2.5508156852576954E-2</c:v>
                </c:pt>
                <c:pt idx="6">
                  <c:v>5.3635720081493594E-2</c:v>
                </c:pt>
                <c:pt idx="7">
                  <c:v>7.0561465467092674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E$2:$E$14</c:f>
              <c:numCache>
                <c:formatCode>General</c:formatCode>
                <c:ptCount val="13"/>
                <c:pt idx="1">
                  <c:v>1.7297754491382299E-3</c:v>
                </c:pt>
                <c:pt idx="6">
                  <c:v>4.0675177882420498E-2</c:v>
                </c:pt>
                <c:pt idx="7">
                  <c:v>3.3293519810025716E-3</c:v>
                </c:pt>
                <c:pt idx="9">
                  <c:v>4.9331271006014781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F$2:$F$14</c:f>
              <c:numCache>
                <c:formatCode>General</c:formatCode>
                <c:ptCount val="13"/>
                <c:pt idx="0">
                  <c:v>3.393281528074156E-2</c:v>
                </c:pt>
                <c:pt idx="1">
                  <c:v>8.3057843117734051E-2</c:v>
                </c:pt>
                <c:pt idx="4">
                  <c:v>1.8941224055698834E-2</c:v>
                </c:pt>
                <c:pt idx="6">
                  <c:v>8.4809195038077698E-2</c:v>
                </c:pt>
                <c:pt idx="7">
                  <c:v>0.28014967068626173</c:v>
                </c:pt>
                <c:pt idx="9">
                  <c:v>9.5390063104204351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7240477465735825E-3</c:v>
                </c:pt>
                <c:pt idx="1">
                  <c:v>0.13191205784668772</c:v>
                </c:pt>
                <c:pt idx="4">
                  <c:v>1.954729740219114E-2</c:v>
                </c:pt>
                <c:pt idx="6">
                  <c:v>0.39049046490337336</c:v>
                </c:pt>
                <c:pt idx="7">
                  <c:v>0.44042776777347037</c:v>
                </c:pt>
                <c:pt idx="9">
                  <c:v>1.566037301653282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B$2:$B$14</c:f>
              <c:numCache>
                <c:formatCode>General</c:formatCode>
                <c:ptCount val="13"/>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C$2:$C$14</c:f>
              <c:numCache>
                <c:formatCode>General</c:formatCode>
                <c:ptCount val="13"/>
                <c:pt idx="1">
                  <c:v>4.8509220082580955E-2</c:v>
                </c:pt>
                <c:pt idx="4">
                  <c:v>1.3243685638868293E-2</c:v>
                </c:pt>
                <c:pt idx="6">
                  <c:v>0.15768088475932499</c:v>
                </c:pt>
                <c:pt idx="7">
                  <c:v>0.20304789096380393</c:v>
                </c:pt>
                <c:pt idx="9">
                  <c:v>7.9758331768185389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D$2:$D$14</c:f>
              <c:numCache>
                <c:formatCode>General</c:formatCode>
                <c:ptCount val="13"/>
                <c:pt idx="1">
                  <c:v>4.2569691260516011E-2</c:v>
                </c:pt>
                <c:pt idx="6">
                  <c:v>7.527098590609603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E$2:$E$14</c:f>
              <c:numCache>
                <c:formatCode>General</c:formatCode>
                <c:ptCount val="13"/>
                <c:pt idx="1">
                  <c:v>3.4252939304002367E-3</c:v>
                </c:pt>
                <c:pt idx="6">
                  <c:v>5.8828512541319086E-2</c:v>
                </c:pt>
                <c:pt idx="7">
                  <c:v>7.5117066925023662E-3</c:v>
                </c:pt>
                <c:pt idx="9">
                  <c:v>4.2414785673363243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550+ GR</c:v>
                </c:pt>
                <c:pt idx="1">
                  <c:v>450-550 GR</c:v>
                </c:pt>
                <c:pt idx="2">
                  <c:v>450-549 GR</c:v>
                </c:pt>
                <c:pt idx="3">
                  <c:v>350-449 GR</c:v>
                </c:pt>
                <c:pt idx="4">
                  <c:v>350-450 GR</c:v>
                </c:pt>
                <c:pt idx="5">
                  <c:v>250-349 GR</c:v>
                </c:pt>
                <c:pt idx="6">
                  <c:v>250-350 GR</c:v>
                </c:pt>
                <c:pt idx="7">
                  <c:v>150-250 GR</c:v>
                </c:pt>
                <c:pt idx="8">
                  <c:v>150-249 GR</c:v>
                </c:pt>
                <c:pt idx="9">
                  <c:v>50-150 GR</c:v>
                </c:pt>
                <c:pt idx="10">
                  <c:v>50-149 GR</c:v>
                </c:pt>
                <c:pt idx="11">
                  <c:v>0-49 GR</c:v>
                </c:pt>
                <c:pt idx="12">
                  <c:v>0-50 GR</c:v>
                </c:pt>
              </c:strCache>
            </c:strRef>
          </c:cat>
          <c:val>
            <c:numRef>
              <c:f>Sheet1!$F$2:$F$14</c:f>
              <c:numCache>
                <c:formatCode>General</c:formatCode>
                <c:ptCount val="13"/>
                <c:pt idx="0">
                  <c:v>1.7240477465735825E-3</c:v>
                </c:pt>
                <c:pt idx="1">
                  <c:v>3.7407852573190507E-2</c:v>
                </c:pt>
                <c:pt idx="4">
                  <c:v>6.3036117633228483E-3</c:v>
                </c:pt>
                <c:pt idx="5">
                  <c:v>1.0321417456449752E-5</c:v>
                </c:pt>
                <c:pt idx="6">
                  <c:v>9.8710081696633256E-2</c:v>
                </c:pt>
                <c:pt idx="7">
                  <c:v>0.22986817011716404</c:v>
                </c:pt>
                <c:pt idx="8">
                  <c:v>2.2766989371461347E-4</c:v>
                </c:pt>
                <c:pt idx="10">
                  <c:v>7.2603919829806567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0/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0/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0/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0/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0/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0/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0/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0/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0/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0.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29.xml"/><Relationship Id="rId5" Type="http://schemas.openxmlformats.org/officeDocument/2006/relationships/chart" Target="../charts/chart28.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3.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32.xml"/><Relationship Id="rId5" Type="http://schemas.openxmlformats.org/officeDocument/2006/relationships/chart" Target="../charts/chart31.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6.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35.xml"/><Relationship Id="rId5" Type="http://schemas.openxmlformats.org/officeDocument/2006/relationships/chart" Target="../charts/chart34.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9.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38.xml"/><Relationship Id="rId5" Type="http://schemas.openxmlformats.org/officeDocument/2006/relationships/chart" Target="../charts/chart37.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2.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41.xml"/><Relationship Id="rId5" Type="http://schemas.openxmlformats.org/officeDocument/2006/relationships/chart" Target="../charts/chart40.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5.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44.xml"/><Relationship Id="rId5" Type="http://schemas.openxmlformats.org/officeDocument/2006/relationships/chart" Target="../charts/chart43.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8.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47.xml"/><Relationship Id="rId5" Type="http://schemas.openxmlformats.org/officeDocument/2006/relationships/chart" Target="../charts/chart46.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1.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50.xml"/><Relationship Id="rId5" Type="http://schemas.openxmlformats.org/officeDocument/2006/relationships/chart" Target="../charts/chart49.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4.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53.xml"/><Relationship Id="rId5" Type="http://schemas.openxmlformats.org/officeDocument/2006/relationships/chart" Target="../charts/chart52.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7.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56.xml"/><Relationship Id="rId5" Type="http://schemas.openxmlformats.org/officeDocument/2006/relationships/chart" Target="../charts/chart55.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0.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59.xml"/><Relationship Id="rId5" Type="http://schemas.openxmlformats.org/officeDocument/2006/relationships/chart" Target="../charts/chart58.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3.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62.xml"/><Relationship Id="rId5" Type="http://schemas.openxmlformats.org/officeDocument/2006/relationships/chart" Target="../charts/chart61.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6.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65.xml"/><Relationship Id="rId5" Type="http://schemas.openxmlformats.org/officeDocument/2006/relationships/chart" Target="../charts/chart64.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9.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68.xml"/><Relationship Id="rId5" Type="http://schemas.openxmlformats.org/officeDocument/2006/relationships/chart" Target="../charts/chart67.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2.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71.xml"/><Relationship Id="rId5" Type="http://schemas.openxmlformats.org/officeDocument/2006/relationships/chart" Target="../charts/chart70.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5.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74.xml"/><Relationship Id="rId5" Type="http://schemas.openxmlformats.org/officeDocument/2006/relationships/chart" Target="../charts/chart73.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8.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77.xml"/><Relationship Id="rId5" Type="http://schemas.openxmlformats.org/officeDocument/2006/relationships/chart" Target="../charts/chart76.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1.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80.xml"/><Relationship Id="rId5" Type="http://schemas.openxmlformats.org/officeDocument/2006/relationships/chart" Target="../charts/chart79.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4.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83.xml"/><Relationship Id="rId5" Type="http://schemas.openxmlformats.org/officeDocument/2006/relationships/chart" Target="../charts/chart82.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7.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86.xml"/><Relationship Id="rId5" Type="http://schemas.openxmlformats.org/officeDocument/2006/relationships/chart" Target="../charts/chart85.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0.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89.xml"/><Relationship Id="rId5" Type="http://schemas.openxmlformats.org/officeDocument/2006/relationships/chart" Target="../charts/chart88.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3.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6.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95.xml"/><Relationship Id="rId5" Type="http://schemas.openxmlformats.org/officeDocument/2006/relationships/chart" Target="../charts/chart94.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9.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98.xml"/><Relationship Id="rId5" Type="http://schemas.openxmlformats.org/officeDocument/2006/relationships/chart" Target="../charts/chart97.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2.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101.xml"/><Relationship Id="rId5" Type="http://schemas.openxmlformats.org/officeDocument/2006/relationships/chart" Target="../charts/chart100.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5.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104.xml"/><Relationship Id="rId5" Type="http://schemas.openxmlformats.org/officeDocument/2006/relationships/chart" Target="../charts/chart103.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8.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107.xml"/><Relationship Id="rId5" Type="http://schemas.openxmlformats.org/officeDocument/2006/relationships/chart" Target="../charts/chart106.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1.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110.xml"/><Relationship Id="rId5" Type="http://schemas.openxmlformats.org/officeDocument/2006/relationships/chart" Target="../charts/chart109.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4.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113.xml"/><Relationship Id="rId5" Type="http://schemas.openxmlformats.org/officeDocument/2006/relationships/chart" Target="../charts/chart112.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7.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116.xml"/><Relationship Id="rId5" Type="http://schemas.openxmlformats.org/officeDocument/2006/relationships/chart" Target="../charts/chart115.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0.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119.xml"/><Relationship Id="rId5" Type="http://schemas.openxmlformats.org/officeDocument/2006/relationships/chart" Target="../charts/chart118.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3.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122.xml"/><Relationship Id="rId5" Type="http://schemas.openxmlformats.org/officeDocument/2006/relationships/chart" Target="../charts/chart121.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6.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125.xml"/><Relationship Id="rId5" Type="http://schemas.openxmlformats.org/officeDocument/2006/relationships/chart" Target="../charts/chart124.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9.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128.xml"/><Relationship Id="rId5" Type="http://schemas.openxmlformats.org/officeDocument/2006/relationships/chart" Target="../charts/chart127.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2.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131.xml"/><Relationship Id="rId5" Type="http://schemas.openxmlformats.org/officeDocument/2006/relationships/chart" Target="../charts/chart130.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5.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134.xml"/><Relationship Id="rId5" Type="http://schemas.openxmlformats.org/officeDocument/2006/relationships/chart" Target="../charts/chart133.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8.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137.xml"/><Relationship Id="rId5" Type="http://schemas.openxmlformats.org/officeDocument/2006/relationships/chart" Target="../charts/chart136.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1.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chart" Target="../charts/chart140.xml"/><Relationship Id="rId5" Type="http://schemas.openxmlformats.org/officeDocument/2006/relationships/chart" Target="../charts/chart139.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4.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chart" Target="../charts/chart143.xml"/><Relationship Id="rId5" Type="http://schemas.openxmlformats.org/officeDocument/2006/relationships/chart" Target="../charts/chart142.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7.xml"/><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chart" Target="../charts/chart146.xml"/><Relationship Id="rId5" Type="http://schemas.openxmlformats.org/officeDocument/2006/relationships/chart" Target="../charts/chart145.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0.xml"/><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chart" Target="../charts/chart149.xml"/><Relationship Id="rId5" Type="http://schemas.openxmlformats.org/officeDocument/2006/relationships/chart" Target="../charts/chart148.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3.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chart" Target="../charts/chart152.xml"/><Relationship Id="rId5" Type="http://schemas.openxmlformats.org/officeDocument/2006/relationships/chart" Target="../charts/chart151.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6.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155.xml"/><Relationship Id="rId5" Type="http://schemas.openxmlformats.org/officeDocument/2006/relationships/chart" Target="../charts/chart154.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9.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158.xml"/><Relationship Id="rId5" Type="http://schemas.openxmlformats.org/officeDocument/2006/relationships/chart" Target="../charts/chart157.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2.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161.xml"/><Relationship Id="rId5" Type="http://schemas.openxmlformats.org/officeDocument/2006/relationships/chart" Target="../charts/chart160.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5.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164.xml"/><Relationship Id="rId5" Type="http://schemas.openxmlformats.org/officeDocument/2006/relationships/chart" Target="../charts/chart163.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8.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167.xml"/><Relationship Id="rId5" Type="http://schemas.openxmlformats.org/officeDocument/2006/relationships/chart" Target="../charts/chart166.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1.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chart" Target="../charts/chart170.xml"/><Relationship Id="rId5" Type="http://schemas.openxmlformats.org/officeDocument/2006/relationships/chart" Target="../charts/chart169.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4.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173.xml"/><Relationship Id="rId5" Type="http://schemas.openxmlformats.org/officeDocument/2006/relationships/chart" Target="../charts/chart172.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7.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176.xml"/><Relationship Id="rId5" Type="http://schemas.openxmlformats.org/officeDocument/2006/relationships/chart" Target="../charts/chart175.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0.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179.xml"/><Relationship Id="rId5" Type="http://schemas.openxmlformats.org/officeDocument/2006/relationships/chart" Target="../charts/chart178.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3.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182.xml"/><Relationship Id="rId5" Type="http://schemas.openxmlformats.org/officeDocument/2006/relationships/chart" Target="../charts/chart181.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6.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185.xml"/><Relationship Id="rId5" Type="http://schemas.openxmlformats.org/officeDocument/2006/relationships/chart" Target="../charts/chart184.xml"/><Relationship Id="rId4" Type="http://schemas.openxmlformats.org/officeDocument/2006/relationships/image" Target="../media/image2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9.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188.xml"/><Relationship Id="rId5" Type="http://schemas.openxmlformats.org/officeDocument/2006/relationships/chart" Target="../charts/chart187.x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2.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191.xml"/><Relationship Id="rId5" Type="http://schemas.openxmlformats.org/officeDocument/2006/relationships/chart" Target="../charts/chart190.xml"/><Relationship Id="rId4" Type="http://schemas.openxmlformats.org/officeDocument/2006/relationships/image" Target="../media/image28.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5.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194.xml"/><Relationship Id="rId5" Type="http://schemas.openxmlformats.org/officeDocument/2006/relationships/chart" Target="../charts/chart193.xml"/><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8.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197.xml"/><Relationship Id="rId5" Type="http://schemas.openxmlformats.org/officeDocument/2006/relationships/chart" Target="../charts/chart196.xml"/><Relationship Id="rId4" Type="http://schemas.openxmlformats.org/officeDocument/2006/relationships/image" Target="../media/image2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1.xml"/><Relationship Id="rId2" Type="http://schemas.openxmlformats.org/officeDocument/2006/relationships/slideLayout" Target="../slideLayouts/slideLayout7.xml"/><Relationship Id="rId1" Type="http://schemas.openxmlformats.org/officeDocument/2006/relationships/tags" Target="../tags/tag94.xml"/><Relationship Id="rId6" Type="http://schemas.openxmlformats.org/officeDocument/2006/relationships/chart" Target="../charts/chart200.xml"/><Relationship Id="rId5" Type="http://schemas.openxmlformats.org/officeDocument/2006/relationships/chart" Target="../charts/chart199.xml"/><Relationship Id="rId4" Type="http://schemas.openxmlformats.org/officeDocument/2006/relationships/image" Target="../media/image2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4.xml"/><Relationship Id="rId2" Type="http://schemas.openxmlformats.org/officeDocument/2006/relationships/slideLayout" Target="../slideLayouts/slideLayout7.xml"/><Relationship Id="rId1" Type="http://schemas.openxmlformats.org/officeDocument/2006/relationships/tags" Target="../tags/tag95.xml"/><Relationship Id="rId6" Type="http://schemas.openxmlformats.org/officeDocument/2006/relationships/chart" Target="../charts/chart203.xml"/><Relationship Id="rId5" Type="http://schemas.openxmlformats.org/officeDocument/2006/relationships/chart" Target="../charts/chart202.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7.xml"/><Relationship Id="rId2" Type="http://schemas.openxmlformats.org/officeDocument/2006/relationships/slideLayout" Target="../slideLayouts/slideLayout7.xml"/><Relationship Id="rId1" Type="http://schemas.openxmlformats.org/officeDocument/2006/relationships/tags" Target="../tags/tag96.xml"/><Relationship Id="rId6" Type="http://schemas.openxmlformats.org/officeDocument/2006/relationships/chart" Target="../charts/chart206.xml"/><Relationship Id="rId5" Type="http://schemas.openxmlformats.org/officeDocument/2006/relationships/chart" Target="../charts/chart205.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20.xml"/><Relationship Id="rId5" Type="http://schemas.openxmlformats.org/officeDocument/2006/relationships/chart" Target="../charts/chart19.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0.xml"/><Relationship Id="rId2" Type="http://schemas.openxmlformats.org/officeDocument/2006/relationships/slideLayout" Target="../slideLayouts/slideLayout7.xml"/><Relationship Id="rId1" Type="http://schemas.openxmlformats.org/officeDocument/2006/relationships/tags" Target="../tags/tag97.xml"/><Relationship Id="rId6" Type="http://schemas.openxmlformats.org/officeDocument/2006/relationships/chart" Target="../charts/chart209.xml"/><Relationship Id="rId5" Type="http://schemas.openxmlformats.org/officeDocument/2006/relationships/chart" Target="../charts/chart208.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3.xml"/><Relationship Id="rId2" Type="http://schemas.openxmlformats.org/officeDocument/2006/relationships/slideLayout" Target="../slideLayouts/slideLayout7.xml"/><Relationship Id="rId1" Type="http://schemas.openxmlformats.org/officeDocument/2006/relationships/tags" Target="../tags/tag98.xml"/><Relationship Id="rId6" Type="http://schemas.openxmlformats.org/officeDocument/2006/relationships/chart" Target="../charts/chart212.xml"/><Relationship Id="rId5" Type="http://schemas.openxmlformats.org/officeDocument/2006/relationships/chart" Target="../charts/chart211.xml"/><Relationship Id="rId4" Type="http://schemas.openxmlformats.org/officeDocument/2006/relationships/image" Target="../media/image2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6.xml"/><Relationship Id="rId2" Type="http://schemas.openxmlformats.org/officeDocument/2006/relationships/slideLayout" Target="../slideLayouts/slideLayout7.xml"/><Relationship Id="rId1" Type="http://schemas.openxmlformats.org/officeDocument/2006/relationships/tags" Target="../tags/tag99.xml"/><Relationship Id="rId6" Type="http://schemas.openxmlformats.org/officeDocument/2006/relationships/chart" Target="../charts/chart215.xml"/><Relationship Id="rId5" Type="http://schemas.openxmlformats.org/officeDocument/2006/relationships/chart" Target="../charts/chart214.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9.xml"/><Relationship Id="rId2" Type="http://schemas.openxmlformats.org/officeDocument/2006/relationships/slideLayout" Target="../slideLayouts/slideLayout7.xml"/><Relationship Id="rId1" Type="http://schemas.openxmlformats.org/officeDocument/2006/relationships/tags" Target="../tags/tag100.xml"/><Relationship Id="rId6" Type="http://schemas.openxmlformats.org/officeDocument/2006/relationships/chart" Target="../charts/chart218.xml"/><Relationship Id="rId5" Type="http://schemas.openxmlformats.org/officeDocument/2006/relationships/chart" Target="../charts/chart217.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2.xml"/><Relationship Id="rId2" Type="http://schemas.openxmlformats.org/officeDocument/2006/relationships/slideLayout" Target="../slideLayouts/slideLayout7.xml"/><Relationship Id="rId1" Type="http://schemas.openxmlformats.org/officeDocument/2006/relationships/tags" Target="../tags/tag101.xml"/><Relationship Id="rId6" Type="http://schemas.openxmlformats.org/officeDocument/2006/relationships/chart" Target="../charts/chart221.xml"/><Relationship Id="rId5" Type="http://schemas.openxmlformats.org/officeDocument/2006/relationships/chart" Target="../charts/chart220.xml"/><Relationship Id="rId4" Type="http://schemas.openxmlformats.org/officeDocument/2006/relationships/image" Target="../media/image28.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5.xml"/><Relationship Id="rId2" Type="http://schemas.openxmlformats.org/officeDocument/2006/relationships/slideLayout" Target="../slideLayouts/slideLayout7.xml"/><Relationship Id="rId1" Type="http://schemas.openxmlformats.org/officeDocument/2006/relationships/tags" Target="../tags/tag102.xml"/><Relationship Id="rId6" Type="http://schemas.openxmlformats.org/officeDocument/2006/relationships/chart" Target="../charts/chart224.xml"/><Relationship Id="rId5" Type="http://schemas.openxmlformats.org/officeDocument/2006/relationships/chart" Target="../charts/chart223.xml"/><Relationship Id="rId4" Type="http://schemas.openxmlformats.org/officeDocument/2006/relationships/image" Target="../media/image28.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8.xml"/><Relationship Id="rId2" Type="http://schemas.openxmlformats.org/officeDocument/2006/relationships/slideLayout" Target="../slideLayouts/slideLayout7.xml"/><Relationship Id="rId1" Type="http://schemas.openxmlformats.org/officeDocument/2006/relationships/tags" Target="../tags/tag103.xml"/><Relationship Id="rId6" Type="http://schemas.openxmlformats.org/officeDocument/2006/relationships/chart" Target="../charts/chart227.xml"/><Relationship Id="rId5" Type="http://schemas.openxmlformats.org/officeDocument/2006/relationships/chart" Target="../charts/chart226.xml"/><Relationship Id="rId4" Type="http://schemas.openxmlformats.org/officeDocument/2006/relationships/image" Target="../media/image2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1.xml"/><Relationship Id="rId2" Type="http://schemas.openxmlformats.org/officeDocument/2006/relationships/slideLayout" Target="../slideLayouts/slideLayout7.xml"/><Relationship Id="rId1" Type="http://schemas.openxmlformats.org/officeDocument/2006/relationships/tags" Target="../tags/tag104.xml"/><Relationship Id="rId6" Type="http://schemas.openxmlformats.org/officeDocument/2006/relationships/chart" Target="../charts/chart230.xml"/><Relationship Id="rId5" Type="http://schemas.openxmlformats.org/officeDocument/2006/relationships/chart" Target="../charts/chart229.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4.xml"/><Relationship Id="rId2" Type="http://schemas.openxmlformats.org/officeDocument/2006/relationships/slideLayout" Target="../slideLayouts/slideLayout7.xml"/><Relationship Id="rId1" Type="http://schemas.openxmlformats.org/officeDocument/2006/relationships/tags" Target="../tags/tag105.xml"/><Relationship Id="rId6" Type="http://schemas.openxmlformats.org/officeDocument/2006/relationships/chart" Target="../charts/chart233.xml"/><Relationship Id="rId5" Type="http://schemas.openxmlformats.org/officeDocument/2006/relationships/chart" Target="../charts/chart232.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7.xml"/><Relationship Id="rId2" Type="http://schemas.openxmlformats.org/officeDocument/2006/relationships/slideLayout" Target="../slideLayouts/slideLayout7.xml"/><Relationship Id="rId1" Type="http://schemas.openxmlformats.org/officeDocument/2006/relationships/tags" Target="../tags/tag106.xml"/><Relationship Id="rId6" Type="http://schemas.openxmlformats.org/officeDocument/2006/relationships/chart" Target="../charts/chart236.xml"/><Relationship Id="rId5" Type="http://schemas.openxmlformats.org/officeDocument/2006/relationships/chart" Target="../charts/chart235.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23.xml"/><Relationship Id="rId5" Type="http://schemas.openxmlformats.org/officeDocument/2006/relationships/chart" Target="../charts/chart22.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0.xml"/><Relationship Id="rId2" Type="http://schemas.openxmlformats.org/officeDocument/2006/relationships/slideLayout" Target="../slideLayouts/slideLayout7.xml"/><Relationship Id="rId1" Type="http://schemas.openxmlformats.org/officeDocument/2006/relationships/tags" Target="../tags/tag107.xml"/><Relationship Id="rId6" Type="http://schemas.openxmlformats.org/officeDocument/2006/relationships/chart" Target="../charts/chart239.xml"/><Relationship Id="rId5" Type="http://schemas.openxmlformats.org/officeDocument/2006/relationships/chart" Target="../charts/chart238.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3.xml"/><Relationship Id="rId2" Type="http://schemas.openxmlformats.org/officeDocument/2006/relationships/slideLayout" Target="../slideLayouts/slideLayout7.xml"/><Relationship Id="rId1" Type="http://schemas.openxmlformats.org/officeDocument/2006/relationships/tags" Target="../tags/tag108.xml"/><Relationship Id="rId6" Type="http://schemas.openxmlformats.org/officeDocument/2006/relationships/chart" Target="../charts/chart242.xml"/><Relationship Id="rId5" Type="http://schemas.openxmlformats.org/officeDocument/2006/relationships/chart" Target="../charts/chart241.xml"/><Relationship Id="rId4" Type="http://schemas.openxmlformats.org/officeDocument/2006/relationships/image" Target="../media/image28.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6.xml"/><Relationship Id="rId2" Type="http://schemas.openxmlformats.org/officeDocument/2006/relationships/slideLayout" Target="../slideLayouts/slideLayout7.xml"/><Relationship Id="rId1" Type="http://schemas.openxmlformats.org/officeDocument/2006/relationships/tags" Target="../tags/tag109.xml"/><Relationship Id="rId6" Type="http://schemas.openxmlformats.org/officeDocument/2006/relationships/chart" Target="../charts/chart245.xml"/><Relationship Id="rId5" Type="http://schemas.openxmlformats.org/officeDocument/2006/relationships/chart" Target="../charts/chart244.xml"/><Relationship Id="rId4" Type="http://schemas.openxmlformats.org/officeDocument/2006/relationships/image" Target="../media/image28.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9.xml"/><Relationship Id="rId2" Type="http://schemas.openxmlformats.org/officeDocument/2006/relationships/slideLayout" Target="../slideLayouts/slideLayout7.xml"/><Relationship Id="rId1" Type="http://schemas.openxmlformats.org/officeDocument/2006/relationships/tags" Target="../tags/tag110.xml"/><Relationship Id="rId6" Type="http://schemas.openxmlformats.org/officeDocument/2006/relationships/chart" Target="../charts/chart248.xml"/><Relationship Id="rId5" Type="http://schemas.openxmlformats.org/officeDocument/2006/relationships/chart" Target="../charts/chart247.xml"/><Relationship Id="rId4" Type="http://schemas.openxmlformats.org/officeDocument/2006/relationships/image" Target="../media/image28.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52.xml"/><Relationship Id="rId2" Type="http://schemas.openxmlformats.org/officeDocument/2006/relationships/slideLayout" Target="../slideLayouts/slideLayout7.xml"/><Relationship Id="rId1" Type="http://schemas.openxmlformats.org/officeDocument/2006/relationships/tags" Target="../tags/tag111.xml"/><Relationship Id="rId6" Type="http://schemas.openxmlformats.org/officeDocument/2006/relationships/chart" Target="../charts/chart251.xml"/><Relationship Id="rId5" Type="http://schemas.openxmlformats.org/officeDocument/2006/relationships/chart" Target="../charts/chart250.xml"/><Relationship Id="rId4" Type="http://schemas.openxmlformats.org/officeDocument/2006/relationships/image" Target="../media/image28.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55.xml"/><Relationship Id="rId2" Type="http://schemas.openxmlformats.org/officeDocument/2006/relationships/slideLayout" Target="../slideLayouts/slideLayout7.xml"/><Relationship Id="rId1" Type="http://schemas.openxmlformats.org/officeDocument/2006/relationships/tags" Target="../tags/tag112.xml"/><Relationship Id="rId6" Type="http://schemas.openxmlformats.org/officeDocument/2006/relationships/chart" Target="../charts/chart254.xml"/><Relationship Id="rId5" Type="http://schemas.openxmlformats.org/officeDocument/2006/relationships/chart" Target="../charts/chart253.xml"/><Relationship Id="rId4" Type="http://schemas.openxmlformats.org/officeDocument/2006/relationships/image" Target="../media/image28.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58.xml"/><Relationship Id="rId2" Type="http://schemas.openxmlformats.org/officeDocument/2006/relationships/slideLayout" Target="../slideLayouts/slideLayout7.xml"/><Relationship Id="rId1" Type="http://schemas.openxmlformats.org/officeDocument/2006/relationships/tags" Target="../tags/tag113.xml"/><Relationship Id="rId6" Type="http://schemas.openxmlformats.org/officeDocument/2006/relationships/chart" Target="../charts/chart257.xml"/><Relationship Id="rId5" Type="http://schemas.openxmlformats.org/officeDocument/2006/relationships/chart" Target="../charts/chart256.xml"/><Relationship Id="rId4" Type="http://schemas.openxmlformats.org/officeDocument/2006/relationships/image" Target="../media/image28.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61.xml"/><Relationship Id="rId2" Type="http://schemas.openxmlformats.org/officeDocument/2006/relationships/slideLayout" Target="../slideLayouts/slideLayout7.xml"/><Relationship Id="rId1" Type="http://schemas.openxmlformats.org/officeDocument/2006/relationships/tags" Target="../tags/tag114.xml"/><Relationship Id="rId6" Type="http://schemas.openxmlformats.org/officeDocument/2006/relationships/chart" Target="../charts/chart260.xml"/><Relationship Id="rId5" Type="http://schemas.openxmlformats.org/officeDocument/2006/relationships/chart" Target="../charts/chart259.xml"/><Relationship Id="rId4" Type="http://schemas.openxmlformats.org/officeDocument/2006/relationships/image" Target="../media/image28.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64.xml"/><Relationship Id="rId2" Type="http://schemas.openxmlformats.org/officeDocument/2006/relationships/slideLayout" Target="../slideLayouts/slideLayout7.xml"/><Relationship Id="rId1" Type="http://schemas.openxmlformats.org/officeDocument/2006/relationships/tags" Target="../tags/tag115.xml"/><Relationship Id="rId6" Type="http://schemas.openxmlformats.org/officeDocument/2006/relationships/chart" Target="../charts/chart263.xml"/><Relationship Id="rId5" Type="http://schemas.openxmlformats.org/officeDocument/2006/relationships/chart" Target="../charts/chart262.xml"/><Relationship Id="rId4" Type="http://schemas.openxmlformats.org/officeDocument/2006/relationships/image" Target="../media/image28.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67.xml"/><Relationship Id="rId2" Type="http://schemas.openxmlformats.org/officeDocument/2006/relationships/slideLayout" Target="../slideLayouts/slideLayout7.xml"/><Relationship Id="rId1" Type="http://schemas.openxmlformats.org/officeDocument/2006/relationships/tags" Target="../tags/tag116.xml"/><Relationship Id="rId6" Type="http://schemas.openxmlformats.org/officeDocument/2006/relationships/chart" Target="../charts/chart266.xml"/><Relationship Id="rId5" Type="http://schemas.openxmlformats.org/officeDocument/2006/relationships/chart" Target="../charts/chart265.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26.xml"/><Relationship Id="rId5" Type="http://schemas.openxmlformats.org/officeDocument/2006/relationships/chart" Target="../charts/chart25.xml"/><Relationship Id="rId4" Type="http://schemas.openxmlformats.org/officeDocument/2006/relationships/image" Target="../media/image28.e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0.xml"/><Relationship Id="rId2" Type="http://schemas.openxmlformats.org/officeDocument/2006/relationships/slideLayout" Target="../slideLayouts/slideLayout7.xml"/><Relationship Id="rId1" Type="http://schemas.openxmlformats.org/officeDocument/2006/relationships/tags" Target="../tags/tag117.xml"/><Relationship Id="rId6" Type="http://schemas.openxmlformats.org/officeDocument/2006/relationships/chart" Target="../charts/chart269.xml"/><Relationship Id="rId5" Type="http://schemas.openxmlformats.org/officeDocument/2006/relationships/chart" Target="../charts/chart268.xml"/><Relationship Id="rId4" Type="http://schemas.openxmlformats.org/officeDocument/2006/relationships/image" Target="../media/image28.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3.xml"/><Relationship Id="rId2" Type="http://schemas.openxmlformats.org/officeDocument/2006/relationships/slideLayout" Target="../slideLayouts/slideLayout7.xml"/><Relationship Id="rId1" Type="http://schemas.openxmlformats.org/officeDocument/2006/relationships/tags" Target="../tags/tag118.xml"/><Relationship Id="rId6" Type="http://schemas.openxmlformats.org/officeDocument/2006/relationships/chart" Target="../charts/chart272.xml"/><Relationship Id="rId5" Type="http://schemas.openxmlformats.org/officeDocument/2006/relationships/chart" Target="../charts/chart271.xml"/><Relationship Id="rId4" Type="http://schemas.openxmlformats.org/officeDocument/2006/relationships/image" Target="../media/image28.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6.xml"/><Relationship Id="rId2" Type="http://schemas.openxmlformats.org/officeDocument/2006/relationships/slideLayout" Target="../slideLayouts/slideLayout7.xml"/><Relationship Id="rId1" Type="http://schemas.openxmlformats.org/officeDocument/2006/relationships/tags" Target="../tags/tag119.xml"/><Relationship Id="rId6" Type="http://schemas.openxmlformats.org/officeDocument/2006/relationships/chart" Target="../charts/chart275.xml"/><Relationship Id="rId5" Type="http://schemas.openxmlformats.org/officeDocument/2006/relationships/chart" Target="../charts/chart274.xml"/><Relationship Id="rId4" Type="http://schemas.openxmlformats.org/officeDocument/2006/relationships/image" Target="../media/image28.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9.xml"/><Relationship Id="rId2" Type="http://schemas.openxmlformats.org/officeDocument/2006/relationships/slideLayout" Target="../slideLayouts/slideLayout7.xml"/><Relationship Id="rId1" Type="http://schemas.openxmlformats.org/officeDocument/2006/relationships/tags" Target="../tags/tag120.xml"/><Relationship Id="rId6" Type="http://schemas.openxmlformats.org/officeDocument/2006/relationships/chart" Target="../charts/chart278.xml"/><Relationship Id="rId5" Type="http://schemas.openxmlformats.org/officeDocument/2006/relationships/chart" Target="../charts/chart277.xml"/><Relationship Id="rId4" Type="http://schemas.openxmlformats.org/officeDocument/2006/relationships/image" Target="../media/image28.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82.xml"/><Relationship Id="rId2" Type="http://schemas.openxmlformats.org/officeDocument/2006/relationships/slideLayout" Target="../slideLayouts/slideLayout7.xml"/><Relationship Id="rId1" Type="http://schemas.openxmlformats.org/officeDocument/2006/relationships/tags" Target="../tags/tag121.xml"/><Relationship Id="rId6" Type="http://schemas.openxmlformats.org/officeDocument/2006/relationships/chart" Target="../charts/chart281.xml"/><Relationship Id="rId5" Type="http://schemas.openxmlformats.org/officeDocument/2006/relationships/chart" Target="../charts/chart280.xml"/><Relationship Id="rId4" Type="http://schemas.openxmlformats.org/officeDocument/2006/relationships/image" Target="../media/image28.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85.xml"/><Relationship Id="rId2" Type="http://schemas.openxmlformats.org/officeDocument/2006/relationships/slideLayout" Target="../slideLayouts/slideLayout7.xml"/><Relationship Id="rId1" Type="http://schemas.openxmlformats.org/officeDocument/2006/relationships/tags" Target="../tags/tag122.xml"/><Relationship Id="rId6" Type="http://schemas.openxmlformats.org/officeDocument/2006/relationships/chart" Target="../charts/chart284.xml"/><Relationship Id="rId5" Type="http://schemas.openxmlformats.org/officeDocument/2006/relationships/chart" Target="../charts/chart283.xml"/><Relationship Id="rId4" Type="http://schemas.openxmlformats.org/officeDocument/2006/relationships/image" Target="../media/image28.emf"/></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88.xml"/><Relationship Id="rId2" Type="http://schemas.openxmlformats.org/officeDocument/2006/relationships/slideLayout" Target="../slideLayouts/slideLayout7.xml"/><Relationship Id="rId1" Type="http://schemas.openxmlformats.org/officeDocument/2006/relationships/tags" Target="../tags/tag123.xml"/><Relationship Id="rId6" Type="http://schemas.openxmlformats.org/officeDocument/2006/relationships/chart" Target="../charts/chart287.xml"/><Relationship Id="rId5" Type="http://schemas.openxmlformats.org/officeDocument/2006/relationships/chart" Target="../charts/chart286.xml"/><Relationship Id="rId4" Type="http://schemas.openxmlformats.org/officeDocument/2006/relationships/image" Target="../media/image28.emf"/></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91.xml"/><Relationship Id="rId2" Type="http://schemas.openxmlformats.org/officeDocument/2006/relationships/slideLayout" Target="../slideLayouts/slideLayout7.xml"/><Relationship Id="rId1" Type="http://schemas.openxmlformats.org/officeDocument/2006/relationships/tags" Target="../tags/tag124.xml"/><Relationship Id="rId6" Type="http://schemas.openxmlformats.org/officeDocument/2006/relationships/chart" Target="../charts/chart290.xml"/><Relationship Id="rId5" Type="http://schemas.openxmlformats.org/officeDocument/2006/relationships/chart" Target="../charts/chart289.xml"/><Relationship Id="rId4" Type="http://schemas.openxmlformats.org/officeDocument/2006/relationships/image" Target="../media/image28.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94.xml"/><Relationship Id="rId2" Type="http://schemas.openxmlformats.org/officeDocument/2006/relationships/slideLayout" Target="../slideLayouts/slideLayout7.xml"/><Relationship Id="rId1" Type="http://schemas.openxmlformats.org/officeDocument/2006/relationships/tags" Target="../tags/tag125.xml"/><Relationship Id="rId6" Type="http://schemas.openxmlformats.org/officeDocument/2006/relationships/chart" Target="../charts/chart293.xml"/><Relationship Id="rId5" Type="http://schemas.openxmlformats.org/officeDocument/2006/relationships/chart" Target="../charts/chart292.xml"/><Relationship Id="rId4" Type="http://schemas.openxmlformats.org/officeDocument/2006/relationships/image" Target="../media/image28.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97.xml"/><Relationship Id="rId2" Type="http://schemas.openxmlformats.org/officeDocument/2006/relationships/slideLayout" Target="../slideLayouts/slideLayout7.xml"/><Relationship Id="rId1" Type="http://schemas.openxmlformats.org/officeDocument/2006/relationships/tags" Target="../tags/tag126.xml"/><Relationship Id="rId6" Type="http://schemas.openxmlformats.org/officeDocument/2006/relationships/chart" Target="../charts/chart296.xml"/><Relationship Id="rId5" Type="http://schemas.openxmlformats.org/officeDocument/2006/relationships/chart" Target="../charts/chart295.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Total Fromag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85745256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Ingredient A Chaud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6427450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Ingredient A Chaud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6948397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Ingredient A Chaud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2677333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Enfant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22514601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Enfant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50016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Enfant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8706943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Frais A Tartiner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9305885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Frais A Tartiner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0580908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Frais A Tartiner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0341384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a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2438098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Total Fromag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0163206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alad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2056093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alad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75854751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lassiqu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8478727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lassiqu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88514657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lassiqu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92831996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hevr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06478115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hevr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38484995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hevr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56899053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Brebi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1078030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Brebis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2884014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Total Fromag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1072587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Brebis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38470426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pecialit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58049292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pecialit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61053639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pecialit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97624266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Total Fromag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81819742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Total Fromag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56909835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Total Fromag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29973040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oft Chees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54861613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oft Chees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418331540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oft Chees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6043611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oft Chees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68592927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Aperitif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70816419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Aperitif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73353405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Aperitif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51585475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Ingredient A Chaud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57797777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Ingredient A Chaud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05761701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Ingredient A Chaud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08809674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Enfant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26934564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Enfant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56567256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Enfant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12800446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Frais A Tartiner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8847201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oft Chees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08595331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Frais A Tartiner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85041295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Frais A Tartiner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57314718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a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42041347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alad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33162730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alad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47695021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lassiqu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29811976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lassiqu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84719237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lassiqu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19458905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hevr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90486639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hevr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8032362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oft Chees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65064330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hevr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80424168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Brebi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56315837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Brebis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96125653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Brebis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54351378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pecialit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64404566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pecialit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415049981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pecialit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6086425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Total Fromag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8051909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Total Fromag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641403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Total Fromag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5681482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Aperitif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03062814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oft Chees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59624631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oft Chees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62007901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oft Chees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9003234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Aperitif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97145360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Aperitif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13450486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Aperitif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405359585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Ingredient A Chaud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48328434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Ingredient A Chaud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65039665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Ingredient A Chaud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85406605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Enfant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5002443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Aperitif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28824108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Enfant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70544973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Enfant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12551345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Frais A Tartiner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76232048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Frais A Tartiner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13256439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Frais A Tartiner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01802913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a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79858107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alad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33024420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alad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25042934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lassiqu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16502142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lassiqu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1059880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Aperitif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87183087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lassiqu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51839464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hevr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88280005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hevr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5587089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Chevr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32301931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Brebi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65257350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Brebis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87197708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Brebis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95757133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pecialit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650568689"/>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pecialit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4140845956"/>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Size Bracket | Specialit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48010">
                <a:tc>
                  <a:txBody>
                    <a:bodyPr/>
                    <a:lstStyle/>
                    <a:p>
                      <a:pPr algn="ctr">
                        <a:defRPr sz="800">
                          <a:latin typeface="Nexa Bold"/>
                        </a:defRPr>
                      </a:pPr>
                      <a:r>
                        <a:t>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48010">
                <a:tc>
                  <a:txBody>
                    <a:bodyPr/>
                    <a:lstStyle/>
                    <a:p>
                      <a:pPr algn="ctr">
                        <a:defRPr sz="800">
                          <a:latin typeface="Nexa Bold"/>
                        </a:defRPr>
                      </a:pPr>
                      <a:r>
                        <a:t>450-5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010">
                <a:tc>
                  <a:txBody>
                    <a:bodyPr/>
                    <a:lstStyle/>
                    <a:p>
                      <a:pPr algn="ctr">
                        <a:defRPr sz="800">
                          <a:latin typeface="Nexa Bold"/>
                        </a:defRPr>
                      </a:pPr>
                      <a:r>
                        <a:t>450-5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010">
                <a:tc>
                  <a:txBody>
                    <a:bodyPr/>
                    <a:lstStyle/>
                    <a:p>
                      <a:pPr algn="ctr">
                        <a:defRPr sz="800">
                          <a:latin typeface="Nexa Bold"/>
                        </a:defRPr>
                      </a:pPr>
                      <a:r>
                        <a:t>350-4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010">
                <a:tc>
                  <a:txBody>
                    <a:bodyPr/>
                    <a:lstStyle/>
                    <a:p>
                      <a:pPr algn="ctr">
                        <a:defRPr sz="800">
                          <a:latin typeface="Nexa Bold"/>
                        </a:defRPr>
                      </a:pPr>
                      <a:r>
                        <a:t>350-4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48010">
                <a:tc>
                  <a:txBody>
                    <a:bodyPr/>
                    <a:lstStyle/>
                    <a:p>
                      <a:pPr algn="ctr">
                        <a:defRPr sz="800">
                          <a:latin typeface="Nexa Bold"/>
                        </a:defRPr>
                      </a:pPr>
                      <a:r>
                        <a:t>250-3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48010">
                <a:tc>
                  <a:txBody>
                    <a:bodyPr/>
                    <a:lstStyle/>
                    <a:p>
                      <a:pPr algn="ctr">
                        <a:defRPr sz="800">
                          <a:latin typeface="Nexa Bold"/>
                        </a:defRPr>
                      </a:pPr>
                      <a:r>
                        <a:t>250-3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48010">
                <a:tc>
                  <a:txBody>
                    <a:bodyPr/>
                    <a:lstStyle/>
                    <a:p>
                      <a:pPr algn="ctr">
                        <a:defRPr sz="800">
                          <a:latin typeface="Nexa Bold"/>
                        </a:defRPr>
                      </a:pPr>
                      <a:r>
                        <a:t>150-2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48010">
                <a:tc>
                  <a:txBody>
                    <a:bodyPr/>
                    <a:lstStyle/>
                    <a:p>
                      <a:pPr algn="ctr">
                        <a:defRPr sz="800">
                          <a:latin typeface="Nexa Bold"/>
                        </a:defRPr>
                      </a:pPr>
                      <a:r>
                        <a:t>150-2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48010">
                <a:tc>
                  <a:txBody>
                    <a:bodyPr/>
                    <a:lstStyle/>
                    <a:p>
                      <a:pPr algn="ctr">
                        <a:defRPr sz="800">
                          <a:latin typeface="Nexa Bold"/>
                        </a:defRPr>
                      </a:pPr>
                      <a:r>
                        <a:t>50-1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48010">
                <a:tc>
                  <a:txBody>
                    <a:bodyPr/>
                    <a:lstStyle/>
                    <a:p>
                      <a:pPr algn="ctr">
                        <a:defRPr sz="800">
                          <a:latin typeface="Nexa Bold"/>
                        </a:defRPr>
                      </a:pPr>
                      <a:r>
                        <a:t>50-1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48010">
                <a:tc>
                  <a:txBody>
                    <a:bodyPr/>
                    <a:lstStyle/>
                    <a:p>
                      <a:pPr algn="ctr">
                        <a:defRPr sz="800">
                          <a:latin typeface="Nexa Bold"/>
                        </a:defRPr>
                      </a:pPr>
                      <a:r>
                        <a:t>0-49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48010">
                <a:tc>
                  <a:txBody>
                    <a:bodyPr/>
                    <a:lstStyle/>
                    <a:p>
                      <a:pPr algn="ctr">
                        <a:defRPr sz="800">
                          <a:latin typeface="Nexa Bold"/>
                        </a:defRPr>
                      </a:pPr>
                      <a:r>
                        <a:t>0-50 GR</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4006713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502A1C8-4964-4CAE-93D2-4FFA7871C13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9</TotalTime>
  <Words>8700</Words>
  <Application>Microsoft Office PowerPoint</Application>
  <PresentationFormat>On-screen Show (16:9)</PresentationFormat>
  <Paragraphs>3045</Paragraphs>
  <Slides>99</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99</vt:i4>
      </vt:variant>
    </vt:vector>
  </HeadingPairs>
  <TitlesOfParts>
    <vt:vector size="108" baseType="lpstr">
      <vt:lpstr>Aptos</vt:lpstr>
      <vt:lpstr>Arial</vt:lpstr>
      <vt:lpstr>Nexa</vt:lpstr>
      <vt:lpstr>Nexa Bold</vt:lpstr>
      <vt:lpstr>Nexa Book</vt:lpstr>
      <vt:lpstr>Nexa Book Italic</vt:lpstr>
      <vt:lpstr>Open Sans</vt:lpstr>
      <vt:lpstr>1_PricingOne Light Template Oct 2024</vt:lpstr>
      <vt:lpstr>think-cell Slide</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lpstr>Brand Share Topline By Size Bracke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7</cp:revision>
  <dcterms:created xsi:type="dcterms:W3CDTF">2024-07-05T11:30:58Z</dcterms:created>
  <dcterms:modified xsi:type="dcterms:W3CDTF">2025-09-10T14:29: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